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2.xml" ContentType="application/vnd.openxmlformats-officedocument.presentationml.tags+xml"/>
  <Override PartName="/ppt/notesSlides/notesSlide1.xml" ContentType="application/vnd.openxmlformats-officedocument.presentationml.notesSlide+xml"/>
  <Override PartName="/ppt/tags/tag16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tags/tag164.xml" ContentType="application/vnd.openxmlformats-officedocument.presentationml.tags+xml"/>
  <Override PartName="/ppt/notesSlides/notesSlide4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66" r:id="rId4"/>
  </p:sldMasterIdLst>
  <p:notesMasterIdLst>
    <p:notesMasterId r:id="rId95"/>
  </p:notesMasterIdLst>
  <p:handoutMasterIdLst>
    <p:handoutMasterId r:id="rId96"/>
  </p:handoutMasterIdLst>
  <p:sldIdLst>
    <p:sldId id="420" r:id="rId5"/>
    <p:sldId id="431" r:id="rId6"/>
    <p:sldId id="314" r:id="rId7"/>
    <p:sldId id="438" r:id="rId8"/>
    <p:sldId id="432" r:id="rId9"/>
    <p:sldId id="433" r:id="rId10"/>
    <p:sldId id="434" r:id="rId11"/>
    <p:sldId id="435" r:id="rId12"/>
    <p:sldId id="436" r:id="rId13"/>
    <p:sldId id="437" r:id="rId14"/>
    <p:sldId id="439" r:id="rId15"/>
    <p:sldId id="440" r:id="rId16"/>
    <p:sldId id="441" r:id="rId17"/>
    <p:sldId id="442" r:id="rId18"/>
    <p:sldId id="443" r:id="rId19"/>
    <p:sldId id="445" r:id="rId20"/>
    <p:sldId id="447" r:id="rId21"/>
    <p:sldId id="446" r:id="rId22"/>
    <p:sldId id="448" r:id="rId23"/>
    <p:sldId id="449" r:id="rId24"/>
    <p:sldId id="450" r:id="rId25"/>
    <p:sldId id="451" r:id="rId26"/>
    <p:sldId id="452" r:id="rId27"/>
    <p:sldId id="453" r:id="rId28"/>
    <p:sldId id="454" r:id="rId29"/>
    <p:sldId id="455" r:id="rId30"/>
    <p:sldId id="456" r:id="rId31"/>
    <p:sldId id="457" r:id="rId32"/>
    <p:sldId id="458" r:id="rId33"/>
    <p:sldId id="460" r:id="rId34"/>
    <p:sldId id="461" r:id="rId35"/>
    <p:sldId id="462" r:id="rId36"/>
    <p:sldId id="463" r:id="rId37"/>
    <p:sldId id="464" r:id="rId38"/>
    <p:sldId id="465" r:id="rId39"/>
    <p:sldId id="466" r:id="rId40"/>
    <p:sldId id="467" r:id="rId41"/>
    <p:sldId id="468" r:id="rId42"/>
    <p:sldId id="469" r:id="rId43"/>
    <p:sldId id="470" r:id="rId44"/>
    <p:sldId id="471" r:id="rId45"/>
    <p:sldId id="472" r:id="rId46"/>
    <p:sldId id="473" r:id="rId47"/>
    <p:sldId id="459" r:id="rId48"/>
    <p:sldId id="475" r:id="rId49"/>
    <p:sldId id="476" r:id="rId50"/>
    <p:sldId id="477" r:id="rId51"/>
    <p:sldId id="478" r:id="rId52"/>
    <p:sldId id="479" r:id="rId53"/>
    <p:sldId id="480" r:id="rId54"/>
    <p:sldId id="474" r:id="rId55"/>
    <p:sldId id="481" r:id="rId56"/>
    <p:sldId id="482" r:id="rId57"/>
    <p:sldId id="483" r:id="rId58"/>
    <p:sldId id="484" r:id="rId59"/>
    <p:sldId id="485" r:id="rId60"/>
    <p:sldId id="486" r:id="rId61"/>
    <p:sldId id="487" r:id="rId62"/>
    <p:sldId id="488" r:id="rId63"/>
    <p:sldId id="490" r:id="rId64"/>
    <p:sldId id="491" r:id="rId65"/>
    <p:sldId id="492" r:id="rId66"/>
    <p:sldId id="514" r:id="rId67"/>
    <p:sldId id="493" r:id="rId68"/>
    <p:sldId id="494" r:id="rId69"/>
    <p:sldId id="495" r:id="rId70"/>
    <p:sldId id="496" r:id="rId71"/>
    <p:sldId id="497" r:id="rId72"/>
    <p:sldId id="516" r:id="rId73"/>
    <p:sldId id="498" r:id="rId74"/>
    <p:sldId id="499" r:id="rId75"/>
    <p:sldId id="500" r:id="rId76"/>
    <p:sldId id="517" r:id="rId77"/>
    <p:sldId id="518" r:id="rId78"/>
    <p:sldId id="501" r:id="rId79"/>
    <p:sldId id="502" r:id="rId80"/>
    <p:sldId id="503" r:id="rId81"/>
    <p:sldId id="513" r:id="rId82"/>
    <p:sldId id="519" r:id="rId83"/>
    <p:sldId id="505" r:id="rId84"/>
    <p:sldId id="504" r:id="rId85"/>
    <p:sldId id="506" r:id="rId86"/>
    <p:sldId id="507" r:id="rId87"/>
    <p:sldId id="508" r:id="rId88"/>
    <p:sldId id="509" r:id="rId89"/>
    <p:sldId id="510" r:id="rId90"/>
    <p:sldId id="511" r:id="rId91"/>
    <p:sldId id="512" r:id="rId92"/>
    <p:sldId id="515" r:id="rId93"/>
    <p:sldId id="283" r:id="rId94"/>
  </p:sldIdLst>
  <p:sldSz cx="9144000" cy="5143500" type="screen16x9"/>
  <p:notesSz cx="7010400" cy="9236075"/>
  <p:custDataLst>
    <p:tags r:id="rId97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83AD594-D306-46C7-B659-AF0ACF06D27A}">
          <p14:sldIdLst>
            <p14:sldId id="420"/>
            <p14:sldId id="431"/>
            <p14:sldId id="314"/>
          </p14:sldIdLst>
        </p14:section>
        <p14:section name="Introduction to Git" id="{D8996150-4179-411D-AD78-DA964E9B2C1B}">
          <p14:sldIdLst>
            <p14:sldId id="438"/>
            <p14:sldId id="432"/>
            <p14:sldId id="433"/>
            <p14:sldId id="434"/>
            <p14:sldId id="435"/>
            <p14:sldId id="436"/>
            <p14:sldId id="437"/>
          </p14:sldIdLst>
        </p14:section>
        <p14:section name="Git Basics" id="{36366038-938C-4E0F-B34E-781E5F8E81B2}">
          <p14:sldIdLst>
            <p14:sldId id="439"/>
            <p14:sldId id="440"/>
            <p14:sldId id="441"/>
            <p14:sldId id="442"/>
            <p14:sldId id="443"/>
            <p14:sldId id="445"/>
            <p14:sldId id="447"/>
            <p14:sldId id="446"/>
            <p14:sldId id="448"/>
            <p14:sldId id="449"/>
            <p14:sldId id="450"/>
          </p14:sldIdLst>
        </p14:section>
        <p14:section name="Branching" id="{903024A4-5FC1-4247-A9CD-FEBA5140D627}">
          <p14:sldIdLst>
            <p14:sldId id="451"/>
            <p14:sldId id="452"/>
            <p14:sldId id="453"/>
            <p14:sldId id="454"/>
            <p14:sldId id="455"/>
            <p14:sldId id="456"/>
            <p14:sldId id="457"/>
            <p14:sldId id="458"/>
            <p14:sldId id="460"/>
            <p14:sldId id="461"/>
            <p14:sldId id="462"/>
            <p14:sldId id="463"/>
            <p14:sldId id="464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  <p14:sldId id="473"/>
            <p14:sldId id="459"/>
          </p14:sldIdLst>
        </p14:section>
        <p14:section name="Best Practices" id="{4510C1CE-445C-47D6-8A17-1DBD9D52D7D0}">
          <p14:sldIdLst>
            <p14:sldId id="475"/>
            <p14:sldId id="476"/>
            <p14:sldId id="477"/>
            <p14:sldId id="478"/>
            <p14:sldId id="479"/>
            <p14:sldId id="480"/>
          </p14:sldIdLst>
        </p14:section>
        <p14:section name="Git Integration in PyCharm" id="{147EF560-48AA-47D8-BC7C-600E5F9046AC}">
          <p14:sldIdLst>
            <p14:sldId id="474"/>
            <p14:sldId id="481"/>
            <p14:sldId id="482"/>
            <p14:sldId id="483"/>
            <p14:sldId id="484"/>
            <p14:sldId id="485"/>
            <p14:sldId id="486"/>
            <p14:sldId id="487"/>
            <p14:sldId id="488"/>
            <p14:sldId id="490"/>
            <p14:sldId id="491"/>
            <p14:sldId id="492"/>
          </p14:sldIdLst>
        </p14:section>
        <p14:section name="Azure DevOps" id="{FEC82D3C-58B7-464B-A0E9-EEF982991E23}">
          <p14:sldIdLst>
            <p14:sldId id="514"/>
            <p14:sldId id="493"/>
            <p14:sldId id="494"/>
            <p14:sldId id="495"/>
            <p14:sldId id="496"/>
            <p14:sldId id="497"/>
            <p14:sldId id="516"/>
            <p14:sldId id="498"/>
            <p14:sldId id="499"/>
            <p14:sldId id="500"/>
            <p14:sldId id="517"/>
            <p14:sldId id="518"/>
            <p14:sldId id="501"/>
            <p14:sldId id="502"/>
            <p14:sldId id="503"/>
            <p14:sldId id="513"/>
            <p14:sldId id="519"/>
            <p14:sldId id="505"/>
            <p14:sldId id="504"/>
            <p14:sldId id="506"/>
            <p14:sldId id="507"/>
            <p14:sldId id="508"/>
            <p14:sldId id="509"/>
            <p14:sldId id="510"/>
            <p14:sldId id="511"/>
            <p14:sldId id="512"/>
            <p14:sldId id="515"/>
          </p14:sldIdLst>
        </p14:section>
        <p14:section name="Outro" id="{F472F347-2C63-4149-BAEF-D6821B568D7C}">
          <p14:sldIdLst>
            <p14:sldId id="28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rin Rolle" initials="KR" lastIdx="11" clrIdx="0">
    <p:extLst>
      <p:ext uri="{19B8F6BF-5375-455C-9EA6-DF929625EA0E}">
        <p15:presenceInfo xmlns:p15="http://schemas.microsoft.com/office/powerpoint/2012/main" userId="S::katrin.rolle@woodmark.de::c315eaec-1e69-473a-ba64-d661e6aae3db" providerId="AD"/>
      </p:ext>
    </p:extLst>
  </p:cmAuthor>
  <p:cmAuthor id="2" name="Sascha Mertens" initials="SM" lastIdx="1" clrIdx="1">
    <p:extLst>
      <p:ext uri="{19B8F6BF-5375-455C-9EA6-DF929625EA0E}">
        <p15:presenceInfo xmlns:p15="http://schemas.microsoft.com/office/powerpoint/2012/main" userId="S::sascha.mertens@woodmark.de::4ed9f3d8-23c4-421b-8109-880ec30d72ba" providerId="AD"/>
      </p:ext>
    </p:extLst>
  </p:cmAuthor>
  <p:cmAuthor id="3" name="Vincent C. Fourmi" initials="VCF" lastIdx="1" clrIdx="2">
    <p:extLst>
      <p:ext uri="{19B8F6BF-5375-455C-9EA6-DF929625EA0E}">
        <p15:presenceInfo xmlns:p15="http://schemas.microsoft.com/office/powerpoint/2012/main" userId="S::vincent.fourmi@woodmark.de::8faa3efb-6978-4939-bfc0-57dcb71792f2" providerId="AD"/>
      </p:ext>
    </p:extLst>
  </p:cmAuthor>
  <p:cmAuthor id="4" name="Sophie Grass" initials="SG" lastIdx="3" clrIdx="3">
    <p:extLst>
      <p:ext uri="{19B8F6BF-5375-455C-9EA6-DF929625EA0E}">
        <p15:presenceInfo xmlns:p15="http://schemas.microsoft.com/office/powerpoint/2012/main" userId="S::sophie.grass@woodmark.de::30047575-3747-445f-ad84-2e23e8a1508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06FAD"/>
    <a:srgbClr val="E2E2E3"/>
    <a:srgbClr val="FFFFFF"/>
    <a:srgbClr val="FFDF7C"/>
    <a:srgbClr val="A0C8F5"/>
    <a:srgbClr val="93140A"/>
    <a:srgbClr val="69B030"/>
    <a:srgbClr val="CCEBD8"/>
    <a:srgbClr val="009932"/>
    <a:srgbClr val="FF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C836C9-ECDD-4933-BBAF-9EE971F313BF}" v="185" dt="2024-10-14T09:20:12.222"/>
  </p1510:revLst>
</p1510:revInfo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00" autoAdjust="0"/>
    <p:restoredTop sz="88168" autoAdjust="0"/>
  </p:normalViewPr>
  <p:slideViewPr>
    <p:cSldViewPr snapToGrid="0" snapToObjects="1">
      <p:cViewPr varScale="1">
        <p:scale>
          <a:sx n="129" d="100"/>
          <a:sy n="129" d="100"/>
        </p:scale>
        <p:origin x="852" y="10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19" d="100"/>
          <a:sy n="119" d="100"/>
        </p:scale>
        <p:origin x="492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tableStyles" Target="tableStyles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notesMaster" Target="notesMasters/notesMaster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103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91" Type="http://schemas.openxmlformats.org/officeDocument/2006/relationships/slide" Target="slides/slide87.xml"/><Relationship Id="rId96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slide" Target="slides/slide90.xml"/><Relationship Id="rId99" Type="http://schemas.openxmlformats.org/officeDocument/2006/relationships/presProps" Target="presProps.xml"/><Relationship Id="rId10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tags" Target="tags/tag1.xml"/><Relationship Id="rId104" Type="http://schemas.microsoft.com/office/2015/10/relationships/revisionInfo" Target="revisionInfo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commentAuthors" Target="commentAuthor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lfgang Moser" userId="733df6ee-58a4-4fd3-968f-bdef169b40f6" providerId="ADAL" clId="{B1C836C9-ECDD-4933-BBAF-9EE971F313BF}"/>
    <pc:docChg chg="undo redo custSel addSld modSld sldOrd modSection">
      <pc:chgData name="Wolfgang Moser" userId="733df6ee-58a4-4fd3-968f-bdef169b40f6" providerId="ADAL" clId="{B1C836C9-ECDD-4933-BBAF-9EE971F313BF}" dt="2024-10-15T12:08:41.573" v="4832" actId="20577"/>
      <pc:docMkLst>
        <pc:docMk/>
      </pc:docMkLst>
      <pc:sldChg chg="modSp mod">
        <pc:chgData name="Wolfgang Moser" userId="733df6ee-58a4-4fd3-968f-bdef169b40f6" providerId="ADAL" clId="{B1C836C9-ECDD-4933-BBAF-9EE971F313BF}" dt="2024-10-10T16:11:13.294" v="4578" actId="113"/>
        <pc:sldMkLst>
          <pc:docMk/>
          <pc:sldMk cId="390028694" sldId="314"/>
        </pc:sldMkLst>
        <pc:spChg chg="mod">
          <ac:chgData name="Wolfgang Moser" userId="733df6ee-58a4-4fd3-968f-bdef169b40f6" providerId="ADAL" clId="{B1C836C9-ECDD-4933-BBAF-9EE971F313BF}" dt="2024-10-10T16:11:13.294" v="4578" actId="113"/>
          <ac:spMkLst>
            <pc:docMk/>
            <pc:sldMk cId="390028694" sldId="314"/>
            <ac:spMk id="2" creationId="{40608E61-3D05-8892-9028-29C39B35F92C}"/>
          </ac:spMkLst>
        </pc:spChg>
        <pc:spChg chg="mod">
          <ac:chgData name="Wolfgang Moser" userId="733df6ee-58a4-4fd3-968f-bdef169b40f6" providerId="ADAL" clId="{B1C836C9-ECDD-4933-BBAF-9EE971F313BF}" dt="2024-10-10T07:17:40.343" v="2748" actId="20577"/>
          <ac:spMkLst>
            <pc:docMk/>
            <pc:sldMk cId="390028694" sldId="314"/>
            <ac:spMk id="10" creationId="{00000000-0000-0000-0000-000000000000}"/>
          </ac:spMkLst>
        </pc:spChg>
      </pc:sldChg>
      <pc:sldChg chg="modNotesTx">
        <pc:chgData name="Wolfgang Moser" userId="733df6ee-58a4-4fd3-968f-bdef169b40f6" providerId="ADAL" clId="{B1C836C9-ECDD-4933-BBAF-9EE971F313BF}" dt="2024-10-10T16:13:53.836" v="4608" actId="20577"/>
        <pc:sldMkLst>
          <pc:docMk/>
          <pc:sldMk cId="69420879" sldId="420"/>
        </pc:sldMkLst>
      </pc:sldChg>
      <pc:sldChg chg="modSp mod">
        <pc:chgData name="Wolfgang Moser" userId="733df6ee-58a4-4fd3-968f-bdef169b40f6" providerId="ADAL" clId="{B1C836C9-ECDD-4933-BBAF-9EE971F313BF}" dt="2024-10-14T08:56:23.854" v="4687" actId="20577"/>
        <pc:sldMkLst>
          <pc:docMk/>
          <pc:sldMk cId="4027486289" sldId="434"/>
        </pc:sldMkLst>
        <pc:spChg chg="mod">
          <ac:chgData name="Wolfgang Moser" userId="733df6ee-58a4-4fd3-968f-bdef169b40f6" providerId="ADAL" clId="{B1C836C9-ECDD-4933-BBAF-9EE971F313BF}" dt="2024-10-14T08:56:23.854" v="4687" actId="20577"/>
          <ac:spMkLst>
            <pc:docMk/>
            <pc:sldMk cId="4027486289" sldId="434"/>
            <ac:spMk id="3" creationId="{DFA4C447-547F-BBB8-5C23-CE0A146952CD}"/>
          </ac:spMkLst>
        </pc:spChg>
      </pc:sldChg>
      <pc:sldChg chg="addSp delSp modSp mod">
        <pc:chgData name="Wolfgang Moser" userId="733df6ee-58a4-4fd3-968f-bdef169b40f6" providerId="ADAL" clId="{B1C836C9-ECDD-4933-BBAF-9EE971F313BF}" dt="2024-10-09T13:30:46.163" v="2259" actId="20577"/>
        <pc:sldMkLst>
          <pc:docMk/>
          <pc:sldMk cId="1090325683" sldId="435"/>
        </pc:sldMkLst>
        <pc:spChg chg="mod">
          <ac:chgData name="Wolfgang Moser" userId="733df6ee-58a4-4fd3-968f-bdef169b40f6" providerId="ADAL" clId="{B1C836C9-ECDD-4933-BBAF-9EE971F313BF}" dt="2024-10-09T13:30:46.163" v="2259" actId="20577"/>
          <ac:spMkLst>
            <pc:docMk/>
            <pc:sldMk cId="1090325683" sldId="435"/>
            <ac:spMk id="2" creationId="{8EFE7C4A-922B-7461-7DAB-FF5FA672B37E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13" creationId="{895844B8-2A4B-6594-3A00-D432F539F736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14" creationId="{101E4702-C9CD-0BD6-7D14-6000F22AEBE6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15" creationId="{82CB044E-2EA5-C7D4-6023-351988FA171D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18" creationId="{751C3604-8CDA-BF3E-4D88-FB7A117C3C60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19" creationId="{3019B055-4901-B6CD-FFEB-FFE3D68E4D6A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20" creationId="{37E70E5D-71A9-FD0B-EA47-6C9620556B00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22" creationId="{1ED71C27-00ED-0B85-ECD7-E48E1ADD1618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23" creationId="{6ECE6898-DBF5-25E2-43FB-70C3890C90B4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27" creationId="{B1E1C3DF-AF53-FB0C-753E-50389CF60D1D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32" creationId="{A25B1C25-0432-EA3A-465F-557896289035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33" creationId="{FC6FB2B1-865B-032F-96EB-CA33B06B6B45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35" creationId="{CE4819F6-C6D5-579D-0A1B-BDD7EC31D446}"/>
          </ac:spMkLst>
        </pc:spChg>
        <pc:spChg chg="add mod">
          <ac:chgData name="Wolfgang Moser" userId="733df6ee-58a4-4fd3-968f-bdef169b40f6" providerId="ADAL" clId="{B1C836C9-ECDD-4933-BBAF-9EE971F313BF}" dt="2024-10-09T13:27:31.875" v="2212" actId="1076"/>
          <ac:spMkLst>
            <pc:docMk/>
            <pc:sldMk cId="1090325683" sldId="435"/>
            <ac:spMk id="40" creationId="{D1482385-9922-6E92-7B0E-30B2DF14C8E6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41" creationId="{A7FD6A31-57B5-BD39-7501-61B7BCE2FB8C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43" creationId="{6B4EF104-4497-9EC2-784F-5098B2907AB5}"/>
          </ac:spMkLst>
        </pc:spChg>
        <pc:spChg chg="add mod">
          <ac:chgData name="Wolfgang Moser" userId="733df6ee-58a4-4fd3-968f-bdef169b40f6" providerId="ADAL" clId="{B1C836C9-ECDD-4933-BBAF-9EE971F313BF}" dt="2024-10-09T13:19:20.777" v="2136" actId="164"/>
          <ac:spMkLst>
            <pc:docMk/>
            <pc:sldMk cId="1090325683" sldId="435"/>
            <ac:spMk id="48" creationId="{F635D5B7-C6AE-E4A7-95D0-563EBB8AEA75}"/>
          </ac:spMkLst>
        </pc:spChg>
        <pc:grpChg chg="add mod">
          <ac:chgData name="Wolfgang Moser" userId="733df6ee-58a4-4fd3-968f-bdef169b40f6" providerId="ADAL" clId="{B1C836C9-ECDD-4933-BBAF-9EE971F313BF}" dt="2024-10-09T13:19:30.414" v="2137" actId="1076"/>
          <ac:grpSpMkLst>
            <pc:docMk/>
            <pc:sldMk cId="1090325683" sldId="435"/>
            <ac:grpSpMk id="52" creationId="{43C37404-DE38-F2E7-2839-F10F6700410F}"/>
          </ac:grpSpMkLst>
        </pc:grpChg>
        <pc:picChg chg="del mod">
          <ac:chgData name="Wolfgang Moser" userId="733df6ee-58a4-4fd3-968f-bdef169b40f6" providerId="ADAL" clId="{B1C836C9-ECDD-4933-BBAF-9EE971F313BF}" dt="2024-10-09T13:19:13.653" v="2135" actId="478"/>
          <ac:picMkLst>
            <pc:docMk/>
            <pc:sldMk cId="1090325683" sldId="435"/>
            <ac:picMk id="11" creationId="{3B7FE02E-D778-4326-8053-9B3F4E6B78F0}"/>
          </ac:picMkLst>
        </pc:picChg>
        <pc:cxnChg chg="add mod">
          <ac:chgData name="Wolfgang Moser" userId="733df6ee-58a4-4fd3-968f-bdef169b40f6" providerId="ADAL" clId="{B1C836C9-ECDD-4933-BBAF-9EE971F313BF}" dt="2024-10-09T13:21:37.320" v="2153" actId="692"/>
          <ac:cxnSpMkLst>
            <pc:docMk/>
            <pc:sldMk cId="1090325683" sldId="435"/>
            <ac:cxnSpMk id="10" creationId="{42BDC3E1-BDBE-CF87-C67E-207DF4C3B576}"/>
          </ac:cxnSpMkLst>
        </pc:cxnChg>
        <pc:cxnChg chg="add mod">
          <ac:chgData name="Wolfgang Moser" userId="733df6ee-58a4-4fd3-968f-bdef169b40f6" providerId="ADAL" clId="{B1C836C9-ECDD-4933-BBAF-9EE971F313BF}" dt="2024-10-09T13:21:26.018" v="2149" actId="692"/>
          <ac:cxnSpMkLst>
            <pc:docMk/>
            <pc:sldMk cId="1090325683" sldId="435"/>
            <ac:cxnSpMk id="25" creationId="{ADB690A2-585F-E74E-91DC-D07AB4F1AA87}"/>
          </ac:cxnSpMkLst>
        </pc:cxnChg>
        <pc:cxnChg chg="add mod">
          <ac:chgData name="Wolfgang Moser" userId="733df6ee-58a4-4fd3-968f-bdef169b40f6" providerId="ADAL" clId="{B1C836C9-ECDD-4933-BBAF-9EE971F313BF}" dt="2024-10-09T13:21:26.018" v="2149" actId="692"/>
          <ac:cxnSpMkLst>
            <pc:docMk/>
            <pc:sldMk cId="1090325683" sldId="435"/>
            <ac:cxnSpMk id="28" creationId="{41BDC8C0-B179-33B0-54ED-624B74BD8722}"/>
          </ac:cxnSpMkLst>
        </pc:cxnChg>
        <pc:cxnChg chg="add mod">
          <ac:chgData name="Wolfgang Moser" userId="733df6ee-58a4-4fd3-968f-bdef169b40f6" providerId="ADAL" clId="{B1C836C9-ECDD-4933-BBAF-9EE971F313BF}" dt="2024-10-09T13:21:26.018" v="2149" actId="692"/>
          <ac:cxnSpMkLst>
            <pc:docMk/>
            <pc:sldMk cId="1090325683" sldId="435"/>
            <ac:cxnSpMk id="34" creationId="{4D5D0149-6CFD-FCE6-CEFB-BD808A172C22}"/>
          </ac:cxnSpMkLst>
        </pc:cxnChg>
        <pc:cxnChg chg="add mod">
          <ac:chgData name="Wolfgang Moser" userId="733df6ee-58a4-4fd3-968f-bdef169b40f6" providerId="ADAL" clId="{B1C836C9-ECDD-4933-BBAF-9EE971F313BF}" dt="2024-10-09T13:21:26.018" v="2149" actId="692"/>
          <ac:cxnSpMkLst>
            <pc:docMk/>
            <pc:sldMk cId="1090325683" sldId="435"/>
            <ac:cxnSpMk id="36" creationId="{009F3D76-F24B-2FA9-CB73-8D7559747846}"/>
          </ac:cxnSpMkLst>
        </pc:cxnChg>
        <pc:cxnChg chg="add mod">
          <ac:chgData name="Wolfgang Moser" userId="733df6ee-58a4-4fd3-968f-bdef169b40f6" providerId="ADAL" clId="{B1C836C9-ECDD-4933-BBAF-9EE971F313BF}" dt="2024-10-09T13:27:31.875" v="2212" actId="1076"/>
          <ac:cxnSpMkLst>
            <pc:docMk/>
            <pc:sldMk cId="1090325683" sldId="435"/>
            <ac:cxnSpMk id="42" creationId="{68F471DB-BE48-18D2-8CE5-D058E052D1C6}"/>
          </ac:cxnSpMkLst>
        </pc:cxnChg>
        <pc:cxnChg chg="add mod">
          <ac:chgData name="Wolfgang Moser" userId="733df6ee-58a4-4fd3-968f-bdef169b40f6" providerId="ADAL" clId="{B1C836C9-ECDD-4933-BBAF-9EE971F313BF}" dt="2024-10-09T13:21:26.018" v="2149" actId="692"/>
          <ac:cxnSpMkLst>
            <pc:docMk/>
            <pc:sldMk cId="1090325683" sldId="435"/>
            <ac:cxnSpMk id="44" creationId="{7485DB8D-8A52-0FE3-BBDF-2A676A5E447C}"/>
          </ac:cxnSpMkLst>
        </pc:cxnChg>
        <pc:cxnChg chg="add mod">
          <ac:chgData name="Wolfgang Moser" userId="733df6ee-58a4-4fd3-968f-bdef169b40f6" providerId="ADAL" clId="{B1C836C9-ECDD-4933-BBAF-9EE971F313BF}" dt="2024-10-09T13:21:26.018" v="2149" actId="692"/>
          <ac:cxnSpMkLst>
            <pc:docMk/>
            <pc:sldMk cId="1090325683" sldId="435"/>
            <ac:cxnSpMk id="49" creationId="{902988F7-D7BE-87B9-5CAD-82DF55ED6FB2}"/>
          </ac:cxnSpMkLst>
        </pc:cxnChg>
      </pc:sldChg>
      <pc:sldChg chg="addSp delSp modSp mod">
        <pc:chgData name="Wolfgang Moser" userId="733df6ee-58a4-4fd3-968f-bdef169b40f6" providerId="ADAL" clId="{B1C836C9-ECDD-4933-BBAF-9EE971F313BF}" dt="2024-10-09T13:46:06.928" v="2478" actId="164"/>
        <pc:sldMkLst>
          <pc:docMk/>
          <pc:sldMk cId="146843069" sldId="436"/>
        </pc:sldMkLst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13" creationId="{9D83C36E-8F8F-E47A-28DF-E565C0D1D258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14" creationId="{00CE580B-9DC5-B5A3-F1B0-BFBAB80BF51A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15" creationId="{F14E3572-2CC8-5784-6F52-A61833F7B1BA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16" creationId="{61405410-F62C-E346-176F-81EE4A07446B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17" creationId="{8FD898E2-71A0-A8B7-C6F6-DF64FC701845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18" creationId="{4B5D0FCF-FAF6-A065-7278-17D12BEE4A97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19" creationId="{DA96539E-3C9E-D79E-3A83-9AF71A070F4B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20" creationId="{DFA756E7-073F-187F-7068-FE85F2E190C2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22" creationId="{E8FC2436-EF29-8B5F-0D9C-2A5982792549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24" creationId="{8EA63B70-2769-EB80-BD11-0E23D4207F4A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25" creationId="{E5669583-5FB7-8EFA-5FB7-7E5CC6E29063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27" creationId="{742221B6-AE9D-E9E8-61DE-25704863F633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29" creationId="{A49C0B30-9FBF-886F-1BEE-C1E1E0A79B06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30" creationId="{DFB4E2E2-2D4B-F4F0-6C51-B8910AD1E251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32" creationId="{203AD1CE-EC24-AA58-3164-28E8A19F0B29}"/>
          </ac:spMkLst>
        </pc:spChg>
        <pc:spChg chg="mod topLvl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34" creationId="{816DA0FC-5267-C45D-E3AF-E365EA26C7D0}"/>
          </ac:spMkLst>
        </pc:spChg>
        <pc:spChg chg="add mod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38" creationId="{8E3EF5C1-BDF8-8285-7622-AB9C89AE87B2}"/>
          </ac:spMkLst>
        </pc:spChg>
        <pc:spChg chg="add mod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39" creationId="{E18C9DB9-BB9B-4912-7E23-D26E0C517572}"/>
          </ac:spMkLst>
        </pc:spChg>
        <pc:spChg chg="add mod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40" creationId="{946FABFC-65D7-C95A-6225-BB170E3CB9C1}"/>
          </ac:spMkLst>
        </pc:spChg>
        <pc:spChg chg="add mod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41" creationId="{7A7ACE64-CCD7-02BE-827F-9E2D10F2ECE1}"/>
          </ac:spMkLst>
        </pc:spChg>
        <pc:spChg chg="add mod">
          <ac:chgData name="Wolfgang Moser" userId="733df6ee-58a4-4fd3-968f-bdef169b40f6" providerId="ADAL" clId="{B1C836C9-ECDD-4933-BBAF-9EE971F313BF}" dt="2024-10-09T13:46:06.928" v="2478" actId="164"/>
          <ac:spMkLst>
            <pc:docMk/>
            <pc:sldMk cId="146843069" sldId="436"/>
            <ac:spMk id="42" creationId="{1FDA7D30-D974-2E28-8F74-6A4C0ABD521C}"/>
          </ac:spMkLst>
        </pc:spChg>
        <pc:grpChg chg="add del mod">
          <ac:chgData name="Wolfgang Moser" userId="733df6ee-58a4-4fd3-968f-bdef169b40f6" providerId="ADAL" clId="{B1C836C9-ECDD-4933-BBAF-9EE971F313BF}" dt="2024-10-09T13:21:02.079" v="2147" actId="165"/>
          <ac:grpSpMkLst>
            <pc:docMk/>
            <pc:sldMk cId="146843069" sldId="436"/>
            <ac:grpSpMk id="3" creationId="{4D3503E0-E649-5280-725B-3B074F9E5D3A}"/>
          </ac:grpSpMkLst>
        </pc:grpChg>
        <pc:grpChg chg="add mod">
          <ac:chgData name="Wolfgang Moser" userId="733df6ee-58a4-4fd3-968f-bdef169b40f6" providerId="ADAL" clId="{B1C836C9-ECDD-4933-BBAF-9EE971F313BF}" dt="2024-10-09T13:46:06.928" v="2478" actId="164"/>
          <ac:grpSpMkLst>
            <pc:docMk/>
            <pc:sldMk cId="146843069" sldId="436"/>
            <ac:grpSpMk id="92" creationId="{565FC485-2801-8951-0130-5DE8E0CB612A}"/>
          </ac:grpSpMkLst>
        </pc:grpChg>
        <pc:picChg chg="add del mod">
          <ac:chgData name="Wolfgang Moser" userId="733df6ee-58a4-4fd3-968f-bdef169b40f6" providerId="ADAL" clId="{B1C836C9-ECDD-4933-BBAF-9EE971F313BF}" dt="2024-10-09T13:30:27.340" v="2258" actId="478"/>
          <ac:picMkLst>
            <pc:docMk/>
            <pc:sldMk cId="146843069" sldId="436"/>
            <ac:picMk id="10" creationId="{16DD60BE-F621-E2BD-5CEC-9FB365DAA45A}"/>
          </ac:picMkLst>
        </pc:picChg>
        <pc:cxnChg chg="mod topLvl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11" creationId="{82B68E87-7AA5-8F8C-B60C-723F035CCA5A}"/>
          </ac:cxnSpMkLst>
        </pc:cxnChg>
        <pc:cxnChg chg="del mod topLvl">
          <ac:chgData name="Wolfgang Moser" userId="733df6ee-58a4-4fd3-968f-bdef169b40f6" providerId="ADAL" clId="{B1C836C9-ECDD-4933-BBAF-9EE971F313BF}" dt="2024-10-09T13:22:15.353" v="2160" actId="478"/>
          <ac:cxnSpMkLst>
            <pc:docMk/>
            <pc:sldMk cId="146843069" sldId="436"/>
            <ac:cxnSpMk id="21" creationId="{4FAC2645-F3EE-FA5A-0FB0-9594BB85AD01}"/>
          </ac:cxnSpMkLst>
        </pc:cxnChg>
        <pc:cxnChg chg="del mod topLvl">
          <ac:chgData name="Wolfgang Moser" userId="733df6ee-58a4-4fd3-968f-bdef169b40f6" providerId="ADAL" clId="{B1C836C9-ECDD-4933-BBAF-9EE971F313BF}" dt="2024-10-09T13:22:16.173" v="2161" actId="478"/>
          <ac:cxnSpMkLst>
            <pc:docMk/>
            <pc:sldMk cId="146843069" sldId="436"/>
            <ac:cxnSpMk id="23" creationId="{F1CD1159-0491-657E-F074-E3794E0196FE}"/>
          </ac:cxnSpMkLst>
        </pc:cxnChg>
        <pc:cxnChg chg="del mod topLvl">
          <ac:chgData name="Wolfgang Moser" userId="733df6ee-58a4-4fd3-968f-bdef169b40f6" providerId="ADAL" clId="{B1C836C9-ECDD-4933-BBAF-9EE971F313BF}" dt="2024-10-09T13:22:17.303" v="2162" actId="478"/>
          <ac:cxnSpMkLst>
            <pc:docMk/>
            <pc:sldMk cId="146843069" sldId="436"/>
            <ac:cxnSpMk id="26" creationId="{41219965-D292-5F28-3173-A5B3B8810E3E}"/>
          </ac:cxnSpMkLst>
        </pc:cxnChg>
        <pc:cxnChg chg="del mod topLvl">
          <ac:chgData name="Wolfgang Moser" userId="733df6ee-58a4-4fd3-968f-bdef169b40f6" providerId="ADAL" clId="{B1C836C9-ECDD-4933-BBAF-9EE971F313BF}" dt="2024-10-09T13:22:18.534" v="2163" actId="478"/>
          <ac:cxnSpMkLst>
            <pc:docMk/>
            <pc:sldMk cId="146843069" sldId="436"/>
            <ac:cxnSpMk id="28" creationId="{307AB058-3B17-46BD-FB6F-C5F67279EACA}"/>
          </ac:cxnSpMkLst>
        </pc:cxnChg>
        <pc:cxnChg chg="del mod topLvl">
          <ac:chgData name="Wolfgang Moser" userId="733df6ee-58a4-4fd3-968f-bdef169b40f6" providerId="ADAL" clId="{B1C836C9-ECDD-4933-BBAF-9EE971F313BF}" dt="2024-10-09T13:22:21.880" v="2166" actId="478"/>
          <ac:cxnSpMkLst>
            <pc:docMk/>
            <pc:sldMk cId="146843069" sldId="436"/>
            <ac:cxnSpMk id="31" creationId="{B6E60028-5617-11C0-6CCB-C8CA8CDE7076}"/>
          </ac:cxnSpMkLst>
        </pc:cxnChg>
        <pc:cxnChg chg="del mod topLvl">
          <ac:chgData name="Wolfgang Moser" userId="733df6ee-58a4-4fd3-968f-bdef169b40f6" providerId="ADAL" clId="{B1C836C9-ECDD-4933-BBAF-9EE971F313BF}" dt="2024-10-09T13:22:20.773" v="2165" actId="478"/>
          <ac:cxnSpMkLst>
            <pc:docMk/>
            <pc:sldMk cId="146843069" sldId="436"/>
            <ac:cxnSpMk id="33" creationId="{7818EF5A-B3EB-DBB0-94E0-BBC432C2CF16}"/>
          </ac:cxnSpMkLst>
        </pc:cxnChg>
        <pc:cxnChg chg="del mod topLvl">
          <ac:chgData name="Wolfgang Moser" userId="733df6ee-58a4-4fd3-968f-bdef169b40f6" providerId="ADAL" clId="{B1C836C9-ECDD-4933-BBAF-9EE971F313BF}" dt="2024-10-09T13:22:19.590" v="2164" actId="478"/>
          <ac:cxnSpMkLst>
            <pc:docMk/>
            <pc:sldMk cId="146843069" sldId="436"/>
            <ac:cxnSpMk id="35" creationId="{FC639D63-ED37-04E4-DFBC-E0D07067C7EE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37" creationId="{BCE8D914-3FA5-412A-4E98-D1AC88651123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43" creationId="{3E8C6C5E-4964-6162-8081-9BC468D035A7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46" creationId="{9CE44B5F-C2AD-B338-3832-A6E0B81ED598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50" creationId="{70E9A432-5F2C-26AC-92C2-3117C684A23C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53" creationId="{FCB8478C-C50D-B7BB-4B33-4B5A61DCE9E3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56" creationId="{BF5FB327-CA15-0B61-C750-320212812F1B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59" creationId="{2517C23B-67C4-285F-F6E8-123590D63F91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64" creationId="{D5E44071-88EB-EA3C-A8D3-85C615B5DBBF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68" creationId="{921A2401-130B-9B94-1AE4-35BDFC68442B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72" creationId="{2C548673-1FC8-D11D-0E60-4A9045837329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76" creationId="{42BB4F90-0A4F-7B11-63DD-C0060DF45AA8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79" creationId="{DFDF57EE-C01E-F075-43AF-CF007A6030BD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83" creationId="{F01E824E-9837-BEEE-0E4E-0B6B7C973D4B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86" creationId="{61615BE2-A46A-6D21-A33A-2F1C19287A59}"/>
          </ac:cxnSpMkLst>
        </pc:cxnChg>
        <pc:cxnChg chg="add mod">
          <ac:chgData name="Wolfgang Moser" userId="733df6ee-58a4-4fd3-968f-bdef169b40f6" providerId="ADAL" clId="{B1C836C9-ECDD-4933-BBAF-9EE971F313BF}" dt="2024-10-09T13:46:06.928" v="2478" actId="164"/>
          <ac:cxnSpMkLst>
            <pc:docMk/>
            <pc:sldMk cId="146843069" sldId="436"/>
            <ac:cxnSpMk id="89" creationId="{8005C64A-985F-474A-E08A-11ACE81E623D}"/>
          </ac:cxnSpMkLst>
        </pc:cxnChg>
      </pc:sldChg>
      <pc:sldChg chg="addSp delSp modSp mod modClrScheme chgLayout">
        <pc:chgData name="Wolfgang Moser" userId="733df6ee-58a4-4fd3-968f-bdef169b40f6" providerId="ADAL" clId="{B1C836C9-ECDD-4933-BBAF-9EE971F313BF}" dt="2024-10-14T08:59:23.635" v="4691" actId="700"/>
        <pc:sldMkLst>
          <pc:docMk/>
          <pc:sldMk cId="460665515" sldId="437"/>
        </pc:sldMkLst>
        <pc:spChg chg="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2" creationId="{8EFE7C4A-922B-7461-7DAB-FF5FA672B37E}"/>
          </ac:spMkLst>
        </pc:spChg>
        <pc:spChg chg="add del mod ord">
          <ac:chgData name="Wolfgang Moser" userId="733df6ee-58a4-4fd3-968f-bdef169b40f6" providerId="ADAL" clId="{B1C836C9-ECDD-4933-BBAF-9EE971F313BF}" dt="2024-10-14T08:59:03.809" v="4689" actId="700"/>
          <ac:spMkLst>
            <pc:docMk/>
            <pc:sldMk cId="460665515" sldId="437"/>
            <ac:spMk id="3" creationId="{14EEB3A7-29F4-1EE7-FCD0-0AE4E573463D}"/>
          </ac:spMkLst>
        </pc:spChg>
        <pc:spChg chg="add del mod ord">
          <ac:chgData name="Wolfgang Moser" userId="733df6ee-58a4-4fd3-968f-bdef169b40f6" providerId="ADAL" clId="{B1C836C9-ECDD-4933-BBAF-9EE971F313BF}" dt="2024-10-14T08:59:03.809" v="4689" actId="700"/>
          <ac:spMkLst>
            <pc:docMk/>
            <pc:sldMk cId="460665515" sldId="437"/>
            <ac:spMk id="4" creationId="{78E03B52-2966-F529-9034-E64C329D7A90}"/>
          </ac:spMkLst>
        </pc:spChg>
        <pc:spChg chg="add del mod ord">
          <ac:chgData name="Wolfgang Moser" userId="733df6ee-58a4-4fd3-968f-bdef169b40f6" providerId="ADAL" clId="{B1C836C9-ECDD-4933-BBAF-9EE971F313BF}" dt="2024-10-14T08:59:03.809" v="4689" actId="700"/>
          <ac:spMkLst>
            <pc:docMk/>
            <pc:sldMk cId="460665515" sldId="437"/>
            <ac:spMk id="5" creationId="{28CDA855-C3EF-13CF-341B-BD690DF855D9}"/>
          </ac:spMkLst>
        </pc:spChg>
        <pc:spChg chg="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6" creationId="{44662255-6FB8-4415-55C1-10D5E500FDE5}"/>
          </ac:spMkLst>
        </pc:spChg>
        <pc:spChg chg="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7" creationId="{B49D232B-5A17-6AC1-71D8-26DB9409C00A}"/>
          </ac:spMkLst>
        </pc:spChg>
        <pc:spChg chg="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8" creationId="{4251FF89-84B4-80BD-152D-398D8C011137}"/>
          </ac:spMkLst>
        </pc:spChg>
        <pc:spChg chg="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9" creationId="{1E2B5ADD-22E2-FAB9-7D62-226AA8C3031E}"/>
          </ac:spMkLst>
        </pc:spChg>
        <pc:spChg chg="add del 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10" creationId="{96649701-D021-73EA-5EEF-CAD6928D3BAA}"/>
          </ac:spMkLst>
        </pc:spChg>
        <pc:spChg chg="add del 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11" creationId="{5056B0E0-C370-774F-7097-87C66100EF45}"/>
          </ac:spMkLst>
        </pc:spChg>
        <pc:spChg chg="add 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12" creationId="{451FD62B-DB39-8885-6EF9-B6DBC28A1C37}"/>
          </ac:spMkLst>
        </pc:spChg>
        <pc:spChg chg="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13" creationId="{4891E8D3-63BA-14A0-E404-F6228D7F2FAC}"/>
          </ac:spMkLst>
        </pc:spChg>
        <pc:spChg chg="add del mod ord">
          <ac:chgData name="Wolfgang Moser" userId="733df6ee-58a4-4fd3-968f-bdef169b40f6" providerId="ADAL" clId="{B1C836C9-ECDD-4933-BBAF-9EE971F313BF}" dt="2024-10-14T08:59:11.687" v="4690" actId="700"/>
          <ac:spMkLst>
            <pc:docMk/>
            <pc:sldMk cId="460665515" sldId="437"/>
            <ac:spMk id="14" creationId="{2BFA422B-0E33-7A28-349A-9F1DC4645597}"/>
          </ac:spMkLst>
        </pc:spChg>
        <pc:spChg chg="add del mod ord">
          <ac:chgData name="Wolfgang Moser" userId="733df6ee-58a4-4fd3-968f-bdef169b40f6" providerId="ADAL" clId="{B1C836C9-ECDD-4933-BBAF-9EE971F313BF}" dt="2024-10-14T08:59:11.687" v="4690" actId="700"/>
          <ac:spMkLst>
            <pc:docMk/>
            <pc:sldMk cId="460665515" sldId="437"/>
            <ac:spMk id="15" creationId="{A08B355A-2ECA-A918-6529-FBD79F05ADE0}"/>
          </ac:spMkLst>
        </pc:spChg>
        <pc:spChg chg="add mod ord">
          <ac:chgData name="Wolfgang Moser" userId="733df6ee-58a4-4fd3-968f-bdef169b40f6" providerId="ADAL" clId="{B1C836C9-ECDD-4933-BBAF-9EE971F313BF}" dt="2024-10-14T08:59:23.635" v="4691" actId="700"/>
          <ac:spMkLst>
            <pc:docMk/>
            <pc:sldMk cId="460665515" sldId="437"/>
            <ac:spMk id="16" creationId="{42E341FF-57F8-AA47-A0C0-EEE62ECC6578}"/>
          </ac:spMkLst>
        </pc:spChg>
      </pc:sldChg>
      <pc:sldChg chg="addSp delSp modSp mod">
        <pc:chgData name="Wolfgang Moser" userId="733df6ee-58a4-4fd3-968f-bdef169b40f6" providerId="ADAL" clId="{B1C836C9-ECDD-4933-BBAF-9EE971F313BF}" dt="2024-10-14T09:05:55.826" v="4698" actId="20577"/>
        <pc:sldMkLst>
          <pc:docMk/>
          <pc:sldMk cId="2742425868" sldId="440"/>
        </pc:sldMkLst>
        <pc:spChg chg="mod">
          <ac:chgData name="Wolfgang Moser" userId="733df6ee-58a4-4fd3-968f-bdef169b40f6" providerId="ADAL" clId="{B1C836C9-ECDD-4933-BBAF-9EE971F313BF}" dt="2024-10-09T13:39:50.886" v="2390" actId="1076"/>
          <ac:spMkLst>
            <pc:docMk/>
            <pc:sldMk cId="2742425868" sldId="440"/>
            <ac:spMk id="2" creationId="{AFA255B0-F46A-39FA-860F-70B8BEF34047}"/>
          </ac:spMkLst>
        </pc:spChg>
        <pc:spChg chg="add mod">
          <ac:chgData name="Wolfgang Moser" userId="733df6ee-58a4-4fd3-968f-bdef169b40f6" providerId="ADAL" clId="{B1C836C9-ECDD-4933-BBAF-9EE971F313BF}" dt="2024-10-09T13:45:30.063" v="2475" actId="164"/>
          <ac:spMkLst>
            <pc:docMk/>
            <pc:sldMk cId="2742425868" sldId="440"/>
            <ac:spMk id="3" creationId="{CD311944-0245-6AB6-83EC-EA5DA56736BD}"/>
          </ac:spMkLst>
        </pc:spChg>
        <pc:spChg chg="add mod">
          <ac:chgData name="Wolfgang Moser" userId="733df6ee-58a4-4fd3-968f-bdef169b40f6" providerId="ADAL" clId="{B1C836C9-ECDD-4933-BBAF-9EE971F313BF}" dt="2024-10-09T13:45:30.063" v="2475" actId="164"/>
          <ac:spMkLst>
            <pc:docMk/>
            <pc:sldMk cId="2742425868" sldId="440"/>
            <ac:spMk id="4" creationId="{20BD85AA-5344-EFD9-9AD9-6C15A837286E}"/>
          </ac:spMkLst>
        </pc:spChg>
        <pc:spChg chg="add mod">
          <ac:chgData name="Wolfgang Moser" userId="733df6ee-58a4-4fd3-968f-bdef169b40f6" providerId="ADAL" clId="{B1C836C9-ECDD-4933-BBAF-9EE971F313BF}" dt="2024-10-09T13:45:30.063" v="2475" actId="164"/>
          <ac:spMkLst>
            <pc:docMk/>
            <pc:sldMk cId="2742425868" sldId="440"/>
            <ac:spMk id="5" creationId="{B7E65C39-1C08-54D8-F5DA-31E51F5B0EA3}"/>
          </ac:spMkLst>
        </pc:spChg>
        <pc:spChg chg="add del mod">
          <ac:chgData name="Wolfgang Moser" userId="733df6ee-58a4-4fd3-968f-bdef169b40f6" providerId="ADAL" clId="{B1C836C9-ECDD-4933-BBAF-9EE971F313BF}" dt="2024-10-09T13:41:50.725" v="2415" actId="478"/>
          <ac:spMkLst>
            <pc:docMk/>
            <pc:sldMk cId="2742425868" sldId="440"/>
            <ac:spMk id="20" creationId="{36AD7F2E-4659-4683-B780-E16DE59580C9}"/>
          </ac:spMkLst>
        </pc:spChg>
        <pc:spChg chg="add mod">
          <ac:chgData name="Wolfgang Moser" userId="733df6ee-58a4-4fd3-968f-bdef169b40f6" providerId="ADAL" clId="{B1C836C9-ECDD-4933-BBAF-9EE971F313BF}" dt="2024-10-09T13:45:30.063" v="2475" actId="164"/>
          <ac:spMkLst>
            <pc:docMk/>
            <pc:sldMk cId="2742425868" sldId="440"/>
            <ac:spMk id="24" creationId="{F757C8EE-0AD7-F4D4-B861-A419BB15D79B}"/>
          </ac:spMkLst>
        </pc:spChg>
        <pc:spChg chg="add mod">
          <ac:chgData name="Wolfgang Moser" userId="733df6ee-58a4-4fd3-968f-bdef169b40f6" providerId="ADAL" clId="{B1C836C9-ECDD-4933-BBAF-9EE971F313BF}" dt="2024-10-14T09:05:55.826" v="4698" actId="20577"/>
          <ac:spMkLst>
            <pc:docMk/>
            <pc:sldMk cId="2742425868" sldId="440"/>
            <ac:spMk id="25" creationId="{6B7A7B5A-B8F4-AE06-F7F4-B78C4BB7FC95}"/>
          </ac:spMkLst>
        </pc:spChg>
        <pc:spChg chg="add mod">
          <ac:chgData name="Wolfgang Moser" userId="733df6ee-58a4-4fd3-968f-bdef169b40f6" providerId="ADAL" clId="{B1C836C9-ECDD-4933-BBAF-9EE971F313BF}" dt="2024-10-09T13:45:30.063" v="2475" actId="164"/>
          <ac:spMkLst>
            <pc:docMk/>
            <pc:sldMk cId="2742425868" sldId="440"/>
            <ac:spMk id="26" creationId="{48F17148-F8F0-5749-B15B-777C623EEBFF}"/>
          </ac:spMkLst>
        </pc:spChg>
        <pc:spChg chg="add del mod">
          <ac:chgData name="Wolfgang Moser" userId="733df6ee-58a4-4fd3-968f-bdef169b40f6" providerId="ADAL" clId="{B1C836C9-ECDD-4933-BBAF-9EE971F313BF}" dt="2024-10-09T13:45:37.051" v="2476" actId="478"/>
          <ac:spMkLst>
            <pc:docMk/>
            <pc:sldMk cId="2742425868" sldId="440"/>
            <ac:spMk id="28" creationId="{1457078C-E9B0-FBDA-1E96-AE2D2D880832}"/>
          </ac:spMkLst>
        </pc:spChg>
        <pc:grpChg chg="add mod">
          <ac:chgData name="Wolfgang Moser" userId="733df6ee-58a4-4fd3-968f-bdef169b40f6" providerId="ADAL" clId="{B1C836C9-ECDD-4933-BBAF-9EE971F313BF}" dt="2024-10-09T13:45:46.641" v="2477" actId="1076"/>
          <ac:grpSpMkLst>
            <pc:docMk/>
            <pc:sldMk cId="2742425868" sldId="440"/>
            <ac:grpSpMk id="29" creationId="{4FFE8964-B1D7-EF8E-7B14-AF78A3792C8E}"/>
          </ac:grpSpMkLst>
        </pc:grpChg>
        <pc:picChg chg="del mod">
          <ac:chgData name="Wolfgang Moser" userId="733df6ee-58a4-4fd3-968f-bdef169b40f6" providerId="ADAL" clId="{B1C836C9-ECDD-4933-BBAF-9EE971F313BF}" dt="2024-10-09T13:45:18.666" v="2474" actId="478"/>
          <ac:picMkLst>
            <pc:docMk/>
            <pc:sldMk cId="2742425868" sldId="440"/>
            <ac:picMk id="11" creationId="{62E18E30-9FB2-18EB-24ED-E6C6D6AC0851}"/>
          </ac:picMkLst>
        </pc:picChg>
        <pc:cxnChg chg="add mod">
          <ac:chgData name="Wolfgang Moser" userId="733df6ee-58a4-4fd3-968f-bdef169b40f6" providerId="ADAL" clId="{B1C836C9-ECDD-4933-BBAF-9EE971F313BF}" dt="2024-10-09T13:45:30.063" v="2475" actId="164"/>
          <ac:cxnSpMkLst>
            <pc:docMk/>
            <pc:sldMk cId="2742425868" sldId="440"/>
            <ac:cxnSpMk id="15" creationId="{75BA2363-F149-6440-872B-315CB041C0E2}"/>
          </ac:cxnSpMkLst>
        </pc:cxnChg>
        <pc:cxnChg chg="add mod">
          <ac:chgData name="Wolfgang Moser" userId="733df6ee-58a4-4fd3-968f-bdef169b40f6" providerId="ADAL" clId="{B1C836C9-ECDD-4933-BBAF-9EE971F313BF}" dt="2024-10-09T13:45:30.063" v="2475" actId="164"/>
          <ac:cxnSpMkLst>
            <pc:docMk/>
            <pc:sldMk cId="2742425868" sldId="440"/>
            <ac:cxnSpMk id="16" creationId="{F6BE7034-5B92-63F4-BD3D-1CEEB9F6A577}"/>
          </ac:cxnSpMkLst>
        </pc:cxnChg>
        <pc:cxnChg chg="add mod">
          <ac:chgData name="Wolfgang Moser" userId="733df6ee-58a4-4fd3-968f-bdef169b40f6" providerId="ADAL" clId="{B1C836C9-ECDD-4933-BBAF-9EE971F313BF}" dt="2024-10-09T13:45:30.063" v="2475" actId="164"/>
          <ac:cxnSpMkLst>
            <pc:docMk/>
            <pc:sldMk cId="2742425868" sldId="440"/>
            <ac:cxnSpMk id="21" creationId="{45C212DD-BABF-60DA-FCE2-44F3B26954DE}"/>
          </ac:cxnSpMkLst>
        </pc:cxnChg>
      </pc:sldChg>
      <pc:sldChg chg="addSp delSp modSp mod">
        <pc:chgData name="Wolfgang Moser" userId="733df6ee-58a4-4fd3-968f-bdef169b40f6" providerId="ADAL" clId="{B1C836C9-ECDD-4933-BBAF-9EE971F313BF}" dt="2024-10-10T11:48:50.951" v="4574" actId="166"/>
        <pc:sldMkLst>
          <pc:docMk/>
          <pc:sldMk cId="3193396511" sldId="442"/>
        </pc:sldMkLst>
        <pc:spChg chg="mod topLvl">
          <ac:chgData name="Wolfgang Moser" userId="733df6ee-58a4-4fd3-968f-bdef169b40f6" providerId="ADAL" clId="{B1C836C9-ECDD-4933-BBAF-9EE971F313BF}" dt="2024-10-09T14:00:07.252" v="2692" actId="164"/>
          <ac:spMkLst>
            <pc:docMk/>
            <pc:sldMk cId="3193396511" sldId="442"/>
            <ac:spMk id="4" creationId="{06EA8F15-39BF-F169-20BE-466B6BC9BEBC}"/>
          </ac:spMkLst>
        </pc:spChg>
        <pc:spChg chg="mod topLvl">
          <ac:chgData name="Wolfgang Moser" userId="733df6ee-58a4-4fd3-968f-bdef169b40f6" providerId="ADAL" clId="{B1C836C9-ECDD-4933-BBAF-9EE971F313BF}" dt="2024-10-09T14:00:07.252" v="2692" actId="164"/>
          <ac:spMkLst>
            <pc:docMk/>
            <pc:sldMk cId="3193396511" sldId="442"/>
            <ac:spMk id="5" creationId="{BA925F50-F37C-83F7-F4AC-6287DE8A39C7}"/>
          </ac:spMkLst>
        </pc:spChg>
        <pc:spChg chg="mod topLvl">
          <ac:chgData name="Wolfgang Moser" userId="733df6ee-58a4-4fd3-968f-bdef169b40f6" providerId="ADAL" clId="{B1C836C9-ECDD-4933-BBAF-9EE971F313BF}" dt="2024-10-09T14:00:07.252" v="2692" actId="164"/>
          <ac:spMkLst>
            <pc:docMk/>
            <pc:sldMk cId="3193396511" sldId="442"/>
            <ac:spMk id="11" creationId="{72C5F875-6C95-38A4-B336-0E2D5F5792AB}"/>
          </ac:spMkLst>
        </pc:spChg>
        <pc:spChg chg="mod topLvl">
          <ac:chgData name="Wolfgang Moser" userId="733df6ee-58a4-4fd3-968f-bdef169b40f6" providerId="ADAL" clId="{B1C836C9-ECDD-4933-BBAF-9EE971F313BF}" dt="2024-10-09T14:00:07.252" v="2692" actId="164"/>
          <ac:spMkLst>
            <pc:docMk/>
            <pc:sldMk cId="3193396511" sldId="442"/>
            <ac:spMk id="18" creationId="{2CA8867F-D30B-A193-0551-5883F10E35FC}"/>
          </ac:spMkLst>
        </pc:spChg>
        <pc:spChg chg="mod ord topLvl">
          <ac:chgData name="Wolfgang Moser" userId="733df6ee-58a4-4fd3-968f-bdef169b40f6" providerId="ADAL" clId="{B1C836C9-ECDD-4933-BBAF-9EE971F313BF}" dt="2024-10-10T11:48:50.951" v="4574" actId="166"/>
          <ac:spMkLst>
            <pc:docMk/>
            <pc:sldMk cId="3193396511" sldId="442"/>
            <ac:spMk id="19" creationId="{0A26D9AB-D75D-D163-2680-DEEB97F153E6}"/>
          </ac:spMkLst>
        </pc:spChg>
        <pc:spChg chg="mod topLvl">
          <ac:chgData name="Wolfgang Moser" userId="733df6ee-58a4-4fd3-968f-bdef169b40f6" providerId="ADAL" clId="{B1C836C9-ECDD-4933-BBAF-9EE971F313BF}" dt="2024-10-09T14:00:07.252" v="2692" actId="164"/>
          <ac:spMkLst>
            <pc:docMk/>
            <pc:sldMk cId="3193396511" sldId="442"/>
            <ac:spMk id="20" creationId="{693101A2-0708-260D-2857-E74E3C6AE92F}"/>
          </ac:spMkLst>
        </pc:spChg>
        <pc:spChg chg="add mod">
          <ac:chgData name="Wolfgang Moser" userId="733df6ee-58a4-4fd3-968f-bdef169b40f6" providerId="ADAL" clId="{B1C836C9-ECDD-4933-BBAF-9EE971F313BF}" dt="2024-10-09T14:00:07.252" v="2692" actId="164"/>
          <ac:spMkLst>
            <pc:docMk/>
            <pc:sldMk cId="3193396511" sldId="442"/>
            <ac:spMk id="21" creationId="{DE93DC3A-90C5-0E0D-01CE-3A17377285B2}"/>
          </ac:spMkLst>
        </pc:spChg>
        <pc:spChg chg="add mod">
          <ac:chgData name="Wolfgang Moser" userId="733df6ee-58a4-4fd3-968f-bdef169b40f6" providerId="ADAL" clId="{B1C836C9-ECDD-4933-BBAF-9EE971F313BF}" dt="2024-10-09T14:00:07.252" v="2692" actId="164"/>
          <ac:spMkLst>
            <pc:docMk/>
            <pc:sldMk cId="3193396511" sldId="442"/>
            <ac:spMk id="53" creationId="{8EA9E204-BD82-FDB8-B33A-9CDA7FCEFFC6}"/>
          </ac:spMkLst>
        </pc:spChg>
        <pc:spChg chg="add mod">
          <ac:chgData name="Wolfgang Moser" userId="733df6ee-58a4-4fd3-968f-bdef169b40f6" providerId="ADAL" clId="{B1C836C9-ECDD-4933-BBAF-9EE971F313BF}" dt="2024-10-09T14:00:07.252" v="2692" actId="164"/>
          <ac:spMkLst>
            <pc:docMk/>
            <pc:sldMk cId="3193396511" sldId="442"/>
            <ac:spMk id="56" creationId="{2530C242-FC08-1E3E-2E89-BE0D2C762412}"/>
          </ac:spMkLst>
        </pc:spChg>
        <pc:spChg chg="add del mod">
          <ac:chgData name="Wolfgang Moser" userId="733df6ee-58a4-4fd3-968f-bdef169b40f6" providerId="ADAL" clId="{B1C836C9-ECDD-4933-BBAF-9EE971F313BF}" dt="2024-10-09T13:59:49.121" v="2691" actId="478"/>
          <ac:spMkLst>
            <pc:docMk/>
            <pc:sldMk cId="3193396511" sldId="442"/>
            <ac:spMk id="63" creationId="{3FB6B9F0-D04A-E0C0-6663-106C7FBB731F}"/>
          </ac:spMkLst>
        </pc:spChg>
        <pc:grpChg chg="add del mod">
          <ac:chgData name="Wolfgang Moser" userId="733df6ee-58a4-4fd3-968f-bdef169b40f6" providerId="ADAL" clId="{B1C836C9-ECDD-4933-BBAF-9EE971F313BF}" dt="2024-10-09T13:46:50.909" v="2486" actId="165"/>
          <ac:grpSpMkLst>
            <pc:docMk/>
            <pc:sldMk cId="3193396511" sldId="442"/>
            <ac:grpSpMk id="3" creationId="{D2E59CB1-05B3-30C1-368F-F5D54D0419DC}"/>
          </ac:grpSpMkLst>
        </pc:grpChg>
        <pc:grpChg chg="add mod ord">
          <ac:chgData name="Wolfgang Moser" userId="733df6ee-58a4-4fd3-968f-bdef169b40f6" providerId="ADAL" clId="{B1C836C9-ECDD-4933-BBAF-9EE971F313BF}" dt="2024-10-10T11:48:46.265" v="4573" actId="166"/>
          <ac:grpSpMkLst>
            <pc:docMk/>
            <pc:sldMk cId="3193396511" sldId="442"/>
            <ac:grpSpMk id="64" creationId="{442E4266-158E-EC88-C9D9-B59EC5EF8553}"/>
          </ac:grpSpMkLst>
        </pc:grpChg>
        <pc:picChg chg="del mod">
          <ac:chgData name="Wolfgang Moser" userId="733df6ee-58a4-4fd3-968f-bdef169b40f6" providerId="ADAL" clId="{B1C836C9-ECDD-4933-BBAF-9EE971F313BF}" dt="2024-10-09T13:59:42.297" v="2690" actId="478"/>
          <ac:picMkLst>
            <pc:docMk/>
            <pc:sldMk cId="3193396511" sldId="442"/>
            <ac:picMk id="10" creationId="{F151C2BB-C8A2-09D3-5237-50363F9D2E43}"/>
          </ac:picMkLst>
        </pc:picChg>
        <pc:cxnChg chg="mod topLvl">
          <ac:chgData name="Wolfgang Moser" userId="733df6ee-58a4-4fd3-968f-bdef169b40f6" providerId="ADAL" clId="{B1C836C9-ECDD-4933-BBAF-9EE971F313BF}" dt="2024-10-09T14:00:07.252" v="2692" actId="164"/>
          <ac:cxnSpMkLst>
            <pc:docMk/>
            <pc:sldMk cId="3193396511" sldId="442"/>
            <ac:cxnSpMk id="15" creationId="{FB15766A-A1E8-A235-55B9-01AF2737F375}"/>
          </ac:cxnSpMkLst>
        </pc:cxnChg>
        <pc:cxnChg chg="mod topLvl">
          <ac:chgData name="Wolfgang Moser" userId="733df6ee-58a4-4fd3-968f-bdef169b40f6" providerId="ADAL" clId="{B1C836C9-ECDD-4933-BBAF-9EE971F313BF}" dt="2024-10-09T14:00:07.252" v="2692" actId="164"/>
          <ac:cxnSpMkLst>
            <pc:docMk/>
            <pc:sldMk cId="3193396511" sldId="442"/>
            <ac:cxnSpMk id="16" creationId="{855B3ABC-2C2F-F58F-5C15-C7C2E8D42B2F}"/>
          </ac:cxnSpMkLst>
        </pc:cxnChg>
        <pc:cxnChg chg="mod topLvl">
          <ac:chgData name="Wolfgang Moser" userId="733df6ee-58a4-4fd3-968f-bdef169b40f6" providerId="ADAL" clId="{B1C836C9-ECDD-4933-BBAF-9EE971F313BF}" dt="2024-10-09T14:00:07.252" v="2692" actId="164"/>
          <ac:cxnSpMkLst>
            <pc:docMk/>
            <pc:sldMk cId="3193396511" sldId="442"/>
            <ac:cxnSpMk id="17" creationId="{307D04BD-CE2D-75BC-4B71-3008704D1270}"/>
          </ac:cxnSpMkLst>
        </pc:cxnChg>
        <pc:cxnChg chg="add mod">
          <ac:chgData name="Wolfgang Moser" userId="733df6ee-58a4-4fd3-968f-bdef169b40f6" providerId="ADAL" clId="{B1C836C9-ECDD-4933-BBAF-9EE971F313BF}" dt="2024-10-09T14:00:07.252" v="2692" actId="164"/>
          <ac:cxnSpMkLst>
            <pc:docMk/>
            <pc:sldMk cId="3193396511" sldId="442"/>
            <ac:cxnSpMk id="38" creationId="{1B911794-BC48-6DCA-F468-A72560B26ABC}"/>
          </ac:cxnSpMkLst>
        </pc:cxnChg>
      </pc:sldChg>
      <pc:sldChg chg="modSp mod">
        <pc:chgData name="Wolfgang Moser" userId="733df6ee-58a4-4fd3-968f-bdef169b40f6" providerId="ADAL" clId="{B1C836C9-ECDD-4933-BBAF-9EE971F313BF}" dt="2024-10-14T09:15:39.838" v="4704" actId="20577"/>
        <pc:sldMkLst>
          <pc:docMk/>
          <pc:sldMk cId="4083828704" sldId="443"/>
        </pc:sldMkLst>
        <pc:spChg chg="mod">
          <ac:chgData name="Wolfgang Moser" userId="733df6ee-58a4-4fd3-968f-bdef169b40f6" providerId="ADAL" clId="{B1C836C9-ECDD-4933-BBAF-9EE971F313BF}" dt="2024-10-14T09:15:39.838" v="4704" actId="20577"/>
          <ac:spMkLst>
            <pc:docMk/>
            <pc:sldMk cId="4083828704" sldId="443"/>
            <ac:spMk id="21" creationId="{95CE8797-3AD0-ECAB-4A81-BC2D09F2D66D}"/>
          </ac:spMkLst>
        </pc:spChg>
        <pc:spChg chg="mod">
          <ac:chgData name="Wolfgang Moser" userId="733df6ee-58a4-4fd3-968f-bdef169b40f6" providerId="ADAL" clId="{B1C836C9-ECDD-4933-BBAF-9EE971F313BF}" dt="2024-10-14T09:15:34.939" v="4701" actId="20577"/>
          <ac:spMkLst>
            <pc:docMk/>
            <pc:sldMk cId="4083828704" sldId="443"/>
            <ac:spMk id="22" creationId="{C3BCEB00-8154-71E7-2B4E-982037246B72}"/>
          </ac:spMkLst>
        </pc:spChg>
      </pc:sldChg>
      <pc:sldChg chg="modSp mod">
        <pc:chgData name="Wolfgang Moser" userId="733df6ee-58a4-4fd3-968f-bdef169b40f6" providerId="ADAL" clId="{B1C836C9-ECDD-4933-BBAF-9EE971F313BF}" dt="2024-10-14T09:20:18.316" v="4706" actId="3626"/>
        <pc:sldMkLst>
          <pc:docMk/>
          <pc:sldMk cId="2666412992" sldId="446"/>
        </pc:sldMkLst>
        <pc:spChg chg="mod">
          <ac:chgData name="Wolfgang Moser" userId="733df6ee-58a4-4fd3-968f-bdef169b40f6" providerId="ADAL" clId="{B1C836C9-ECDD-4933-BBAF-9EE971F313BF}" dt="2024-10-14T09:20:18.316" v="4706" actId="3626"/>
          <ac:spMkLst>
            <pc:docMk/>
            <pc:sldMk cId="2666412992" sldId="446"/>
            <ac:spMk id="4" creationId="{0AEE8352-4C39-17AE-5594-94CC04BBFE06}"/>
          </ac:spMkLst>
        </pc:spChg>
      </pc:sldChg>
      <pc:sldChg chg="modSp mod">
        <pc:chgData name="Wolfgang Moser" userId="733df6ee-58a4-4fd3-968f-bdef169b40f6" providerId="ADAL" clId="{B1C836C9-ECDD-4933-BBAF-9EE971F313BF}" dt="2024-10-15T12:08:41.573" v="4832" actId="20577"/>
        <pc:sldMkLst>
          <pc:docMk/>
          <pc:sldMk cId="3750886512" sldId="447"/>
        </pc:sldMkLst>
        <pc:spChg chg="mod">
          <ac:chgData name="Wolfgang Moser" userId="733df6ee-58a4-4fd3-968f-bdef169b40f6" providerId="ADAL" clId="{B1C836C9-ECDD-4933-BBAF-9EE971F313BF}" dt="2024-10-15T12:08:41.573" v="4832" actId="20577"/>
          <ac:spMkLst>
            <pc:docMk/>
            <pc:sldMk cId="3750886512" sldId="447"/>
            <ac:spMk id="18" creationId="{9CC4F145-4BBD-311A-665F-07CFD22642C9}"/>
          </ac:spMkLst>
        </pc:spChg>
      </pc:sldChg>
      <pc:sldChg chg="delSp modSp mod">
        <pc:chgData name="Wolfgang Moser" userId="733df6ee-58a4-4fd3-968f-bdef169b40f6" providerId="ADAL" clId="{B1C836C9-ECDD-4933-BBAF-9EE971F313BF}" dt="2024-10-15T08:35:32.863" v="4829" actId="478"/>
        <pc:sldMkLst>
          <pc:docMk/>
          <pc:sldMk cId="3766621458" sldId="449"/>
        </pc:sldMkLst>
        <pc:spChg chg="del">
          <ac:chgData name="Wolfgang Moser" userId="733df6ee-58a4-4fd3-968f-bdef169b40f6" providerId="ADAL" clId="{B1C836C9-ECDD-4933-BBAF-9EE971F313BF}" dt="2024-10-15T08:35:32.863" v="4829" actId="478"/>
          <ac:spMkLst>
            <pc:docMk/>
            <pc:sldMk cId="3766621458" sldId="449"/>
            <ac:spMk id="10" creationId="{04E04327-44AF-5FC8-90B9-BA70E04D661A}"/>
          </ac:spMkLst>
        </pc:spChg>
        <pc:spChg chg="del">
          <ac:chgData name="Wolfgang Moser" userId="733df6ee-58a4-4fd3-968f-bdef169b40f6" providerId="ADAL" clId="{B1C836C9-ECDD-4933-BBAF-9EE971F313BF}" dt="2024-10-15T08:35:27.478" v="4828" actId="478"/>
          <ac:spMkLst>
            <pc:docMk/>
            <pc:sldMk cId="3766621458" sldId="449"/>
            <ac:spMk id="11" creationId="{3ADB58D2-D58D-7BFE-CBCD-165486690F7A}"/>
          </ac:spMkLst>
        </pc:spChg>
        <pc:spChg chg="mod">
          <ac:chgData name="Wolfgang Moser" userId="733df6ee-58a4-4fd3-968f-bdef169b40f6" providerId="ADAL" clId="{B1C836C9-ECDD-4933-BBAF-9EE971F313BF}" dt="2024-10-14T09:23:13.956" v="4713" actId="20577"/>
          <ac:spMkLst>
            <pc:docMk/>
            <pc:sldMk cId="3766621458" sldId="449"/>
            <ac:spMk id="21" creationId="{95CE8797-3AD0-ECAB-4A81-BC2D09F2D66D}"/>
          </ac:spMkLst>
        </pc:spChg>
      </pc:sldChg>
      <pc:sldChg chg="modNotesTx">
        <pc:chgData name="Wolfgang Moser" userId="733df6ee-58a4-4fd3-968f-bdef169b40f6" providerId="ADAL" clId="{B1C836C9-ECDD-4933-BBAF-9EE971F313BF}" dt="2024-10-14T10:43:07.583" v="4807" actId="20577"/>
        <pc:sldMkLst>
          <pc:docMk/>
          <pc:sldMk cId="3351719501" sldId="452"/>
        </pc:sldMkLst>
      </pc:sldChg>
      <pc:sldChg chg="modSp mod">
        <pc:chgData name="Wolfgang Moser" userId="733df6ee-58a4-4fd3-968f-bdef169b40f6" providerId="ADAL" clId="{B1C836C9-ECDD-4933-BBAF-9EE971F313BF}" dt="2024-10-09T14:04:07.937" v="2694" actId="1076"/>
        <pc:sldMkLst>
          <pc:docMk/>
          <pc:sldMk cId="1548667182" sldId="453"/>
        </pc:sldMkLst>
        <pc:spChg chg="mod">
          <ac:chgData name="Wolfgang Moser" userId="733df6ee-58a4-4fd3-968f-bdef169b40f6" providerId="ADAL" clId="{B1C836C9-ECDD-4933-BBAF-9EE971F313BF}" dt="2024-10-09T14:04:07.937" v="2694" actId="1076"/>
          <ac:spMkLst>
            <pc:docMk/>
            <pc:sldMk cId="1548667182" sldId="453"/>
            <ac:spMk id="21" creationId="{39A52098-F9D8-57C7-8CC4-C9121724CF66}"/>
          </ac:spMkLst>
        </pc:spChg>
        <pc:spChg chg="mod">
          <ac:chgData name="Wolfgang Moser" userId="733df6ee-58a4-4fd3-968f-bdef169b40f6" providerId="ADAL" clId="{B1C836C9-ECDD-4933-BBAF-9EE971F313BF}" dt="2024-10-09T14:04:07.937" v="2694" actId="1076"/>
          <ac:spMkLst>
            <pc:docMk/>
            <pc:sldMk cId="1548667182" sldId="453"/>
            <ac:spMk id="23" creationId="{805D3536-6297-57B5-5571-E79CD9A01CA2}"/>
          </ac:spMkLst>
        </pc:spChg>
        <pc:spChg chg="mod">
          <ac:chgData name="Wolfgang Moser" userId="733df6ee-58a4-4fd3-968f-bdef169b40f6" providerId="ADAL" clId="{B1C836C9-ECDD-4933-BBAF-9EE971F313BF}" dt="2024-10-09T14:04:07.937" v="2694" actId="1076"/>
          <ac:spMkLst>
            <pc:docMk/>
            <pc:sldMk cId="1548667182" sldId="453"/>
            <ac:spMk id="24" creationId="{ECC7C5F9-3EE6-D3D9-FF44-822077A7B26B}"/>
          </ac:spMkLst>
        </pc:spChg>
        <pc:spChg chg="mod">
          <ac:chgData name="Wolfgang Moser" userId="733df6ee-58a4-4fd3-968f-bdef169b40f6" providerId="ADAL" clId="{B1C836C9-ECDD-4933-BBAF-9EE971F313BF}" dt="2024-10-09T14:04:07.937" v="2694" actId="1076"/>
          <ac:spMkLst>
            <pc:docMk/>
            <pc:sldMk cId="1548667182" sldId="453"/>
            <ac:spMk id="25" creationId="{5B7C4A96-5CD4-5CA1-C2F7-C328FAA76245}"/>
          </ac:spMkLst>
        </pc:spChg>
        <pc:spChg chg="mod">
          <ac:chgData name="Wolfgang Moser" userId="733df6ee-58a4-4fd3-968f-bdef169b40f6" providerId="ADAL" clId="{B1C836C9-ECDD-4933-BBAF-9EE971F313BF}" dt="2024-10-09T14:04:07.937" v="2694" actId="1076"/>
          <ac:spMkLst>
            <pc:docMk/>
            <pc:sldMk cId="1548667182" sldId="453"/>
            <ac:spMk id="31" creationId="{B0B49F6C-5450-3A94-C176-946F506F60EA}"/>
          </ac:spMkLst>
        </pc:spChg>
        <pc:cxnChg chg="mod">
          <ac:chgData name="Wolfgang Moser" userId="733df6ee-58a4-4fd3-968f-bdef169b40f6" providerId="ADAL" clId="{B1C836C9-ECDD-4933-BBAF-9EE971F313BF}" dt="2024-10-09T14:04:07.937" v="2694" actId="1076"/>
          <ac:cxnSpMkLst>
            <pc:docMk/>
            <pc:sldMk cId="1548667182" sldId="453"/>
            <ac:cxnSpMk id="27" creationId="{5BC906A0-1546-0B4E-B0E1-BA4D7E635303}"/>
          </ac:cxnSpMkLst>
        </pc:cxnChg>
        <pc:cxnChg chg="mod">
          <ac:chgData name="Wolfgang Moser" userId="733df6ee-58a4-4fd3-968f-bdef169b40f6" providerId="ADAL" clId="{B1C836C9-ECDD-4933-BBAF-9EE971F313BF}" dt="2024-10-09T14:04:07.937" v="2694" actId="1076"/>
          <ac:cxnSpMkLst>
            <pc:docMk/>
            <pc:sldMk cId="1548667182" sldId="453"/>
            <ac:cxnSpMk id="28" creationId="{BC7DD74F-ED04-86DE-14BC-9917C0A30EFD}"/>
          </ac:cxnSpMkLst>
        </pc:cxnChg>
        <pc:cxnChg chg="mod">
          <ac:chgData name="Wolfgang Moser" userId="733df6ee-58a4-4fd3-968f-bdef169b40f6" providerId="ADAL" clId="{B1C836C9-ECDD-4933-BBAF-9EE971F313BF}" dt="2024-10-09T14:04:07.937" v="2694" actId="1076"/>
          <ac:cxnSpMkLst>
            <pc:docMk/>
            <pc:sldMk cId="1548667182" sldId="453"/>
            <ac:cxnSpMk id="29" creationId="{77643FDC-A26F-ACA2-CFE9-BFA6BEAF286E}"/>
          </ac:cxnSpMkLst>
        </pc:cxnChg>
        <pc:cxnChg chg="mod">
          <ac:chgData name="Wolfgang Moser" userId="733df6ee-58a4-4fd3-968f-bdef169b40f6" providerId="ADAL" clId="{B1C836C9-ECDD-4933-BBAF-9EE971F313BF}" dt="2024-10-09T14:04:07.937" v="2694" actId="1076"/>
          <ac:cxnSpMkLst>
            <pc:docMk/>
            <pc:sldMk cId="1548667182" sldId="453"/>
            <ac:cxnSpMk id="33" creationId="{CF9CB6E7-B9DE-0FD3-22FD-31CCF6F586C6}"/>
          </ac:cxnSpMkLst>
        </pc:cxnChg>
      </pc:sldChg>
      <pc:sldChg chg="modSp mod">
        <pc:chgData name="Wolfgang Moser" userId="733df6ee-58a4-4fd3-968f-bdef169b40f6" providerId="ADAL" clId="{B1C836C9-ECDD-4933-BBAF-9EE971F313BF}" dt="2024-10-14T09:28:28.997" v="4717" actId="20577"/>
        <pc:sldMkLst>
          <pc:docMk/>
          <pc:sldMk cId="1478392170" sldId="454"/>
        </pc:sldMkLst>
        <pc:spChg chg="mod">
          <ac:chgData name="Wolfgang Moser" userId="733df6ee-58a4-4fd3-968f-bdef169b40f6" providerId="ADAL" clId="{B1C836C9-ECDD-4933-BBAF-9EE971F313BF}" dt="2024-10-14T09:28:28.997" v="4717" actId="20577"/>
          <ac:spMkLst>
            <pc:docMk/>
            <pc:sldMk cId="1478392170" sldId="454"/>
            <ac:spMk id="24" creationId="{87A794E7-677A-2423-575A-4E6B06D6ACC9}"/>
          </ac:spMkLst>
        </pc:spChg>
      </pc:sldChg>
      <pc:sldChg chg="modSp mod">
        <pc:chgData name="Wolfgang Moser" userId="733df6ee-58a4-4fd3-968f-bdef169b40f6" providerId="ADAL" clId="{B1C836C9-ECDD-4933-BBAF-9EE971F313BF}" dt="2024-10-14T09:29:31.535" v="4725" actId="20577"/>
        <pc:sldMkLst>
          <pc:docMk/>
          <pc:sldMk cId="3014652008" sldId="457"/>
        </pc:sldMkLst>
        <pc:spChg chg="mod">
          <ac:chgData name="Wolfgang Moser" userId="733df6ee-58a4-4fd3-968f-bdef169b40f6" providerId="ADAL" clId="{B1C836C9-ECDD-4933-BBAF-9EE971F313BF}" dt="2024-10-14T09:29:31.535" v="4725" actId="20577"/>
          <ac:spMkLst>
            <pc:docMk/>
            <pc:sldMk cId="3014652008" sldId="457"/>
            <ac:spMk id="24" creationId="{87A794E7-677A-2423-575A-4E6B06D6ACC9}"/>
          </ac:spMkLst>
        </pc:spChg>
      </pc:sldChg>
      <pc:sldChg chg="modSp mod">
        <pc:chgData name="Wolfgang Moser" userId="733df6ee-58a4-4fd3-968f-bdef169b40f6" providerId="ADAL" clId="{B1C836C9-ECDD-4933-BBAF-9EE971F313BF}" dt="2024-10-14T09:30:10.679" v="4729" actId="20577"/>
        <pc:sldMkLst>
          <pc:docMk/>
          <pc:sldMk cId="2596967631" sldId="458"/>
        </pc:sldMkLst>
        <pc:spChg chg="mod">
          <ac:chgData name="Wolfgang Moser" userId="733df6ee-58a4-4fd3-968f-bdef169b40f6" providerId="ADAL" clId="{B1C836C9-ECDD-4933-BBAF-9EE971F313BF}" dt="2024-10-14T09:30:10.679" v="4729" actId="20577"/>
          <ac:spMkLst>
            <pc:docMk/>
            <pc:sldMk cId="2596967631" sldId="458"/>
            <ac:spMk id="24" creationId="{87A794E7-677A-2423-575A-4E6B06D6ACC9}"/>
          </ac:spMkLst>
        </pc:spChg>
      </pc:sldChg>
      <pc:sldChg chg="modSp mod">
        <pc:chgData name="Wolfgang Moser" userId="733df6ee-58a4-4fd3-968f-bdef169b40f6" providerId="ADAL" clId="{B1C836C9-ECDD-4933-BBAF-9EE971F313BF}" dt="2024-10-09T14:05:19.820" v="2699" actId="20577"/>
        <pc:sldMkLst>
          <pc:docMk/>
          <pc:sldMk cId="1760811244" sldId="460"/>
        </pc:sldMkLst>
        <pc:spChg chg="mod">
          <ac:chgData name="Wolfgang Moser" userId="733df6ee-58a4-4fd3-968f-bdef169b40f6" providerId="ADAL" clId="{B1C836C9-ECDD-4933-BBAF-9EE971F313BF}" dt="2024-10-09T14:05:19.820" v="2699" actId="20577"/>
          <ac:spMkLst>
            <pc:docMk/>
            <pc:sldMk cId="1760811244" sldId="460"/>
            <ac:spMk id="24" creationId="{87A794E7-677A-2423-575A-4E6B06D6ACC9}"/>
          </ac:spMkLst>
        </pc:spChg>
      </pc:sldChg>
      <pc:sldChg chg="modNotesTx">
        <pc:chgData name="Wolfgang Moser" userId="733df6ee-58a4-4fd3-968f-bdef169b40f6" providerId="ADAL" clId="{B1C836C9-ECDD-4933-BBAF-9EE971F313BF}" dt="2024-10-14T09:40:08.969" v="4730" actId="20577"/>
        <pc:sldMkLst>
          <pc:docMk/>
          <pc:sldMk cId="1511166998" sldId="470"/>
        </pc:sldMkLst>
      </pc:sldChg>
      <pc:sldChg chg="modSp mod modNotesTx">
        <pc:chgData name="Wolfgang Moser" userId="733df6ee-58a4-4fd3-968f-bdef169b40f6" providerId="ADAL" clId="{B1C836C9-ECDD-4933-BBAF-9EE971F313BF}" dt="2024-10-14T10:36:23.526" v="4746" actId="20577"/>
        <pc:sldMkLst>
          <pc:docMk/>
          <pc:sldMk cId="344186452" sldId="471"/>
        </pc:sldMkLst>
        <pc:spChg chg="mod">
          <ac:chgData name="Wolfgang Moser" userId="733df6ee-58a4-4fd3-968f-bdef169b40f6" providerId="ADAL" clId="{B1C836C9-ECDD-4933-BBAF-9EE971F313BF}" dt="2024-10-14T10:36:23.526" v="4746" actId="20577"/>
          <ac:spMkLst>
            <pc:docMk/>
            <pc:sldMk cId="344186452" sldId="471"/>
            <ac:spMk id="24" creationId="{87A794E7-677A-2423-575A-4E6B06D6ACC9}"/>
          </ac:spMkLst>
        </pc:spChg>
      </pc:sldChg>
      <pc:sldChg chg="modSp mod modNotesTx">
        <pc:chgData name="Wolfgang Moser" userId="733df6ee-58a4-4fd3-968f-bdef169b40f6" providerId="ADAL" clId="{B1C836C9-ECDD-4933-BBAF-9EE971F313BF}" dt="2024-10-14T09:40:16.302" v="4732" actId="20577"/>
        <pc:sldMkLst>
          <pc:docMk/>
          <pc:sldMk cId="1726606656" sldId="472"/>
        </pc:sldMkLst>
        <pc:spChg chg="mod">
          <ac:chgData name="Wolfgang Moser" userId="733df6ee-58a4-4fd3-968f-bdef169b40f6" providerId="ADAL" clId="{B1C836C9-ECDD-4933-BBAF-9EE971F313BF}" dt="2024-10-09T08:34:05.976" v="207" actId="20577"/>
          <ac:spMkLst>
            <pc:docMk/>
            <pc:sldMk cId="1726606656" sldId="472"/>
            <ac:spMk id="24" creationId="{87A794E7-677A-2423-575A-4E6B06D6ACC9}"/>
          </ac:spMkLst>
        </pc:spChg>
      </pc:sldChg>
      <pc:sldChg chg="modNotesTx">
        <pc:chgData name="Wolfgang Moser" userId="733df6ee-58a4-4fd3-968f-bdef169b40f6" providerId="ADAL" clId="{B1C836C9-ECDD-4933-BBAF-9EE971F313BF}" dt="2024-10-14T09:40:22.665" v="4733" actId="20577"/>
        <pc:sldMkLst>
          <pc:docMk/>
          <pc:sldMk cId="3157290696" sldId="473"/>
        </pc:sldMkLst>
      </pc:sldChg>
      <pc:sldChg chg="modSp mod">
        <pc:chgData name="Wolfgang Moser" userId="733df6ee-58a4-4fd3-968f-bdef169b40f6" providerId="ADAL" clId="{B1C836C9-ECDD-4933-BBAF-9EE971F313BF}" dt="2024-10-14T10:41:57.152" v="4801" actId="108"/>
        <pc:sldMkLst>
          <pc:docMk/>
          <pc:sldMk cId="605169474" sldId="477"/>
        </pc:sldMkLst>
        <pc:spChg chg="mod">
          <ac:chgData name="Wolfgang Moser" userId="733df6ee-58a4-4fd3-968f-bdef169b40f6" providerId="ADAL" clId="{B1C836C9-ECDD-4933-BBAF-9EE971F313BF}" dt="2024-10-14T10:41:57.152" v="4801" actId="108"/>
          <ac:spMkLst>
            <pc:docMk/>
            <pc:sldMk cId="605169474" sldId="477"/>
            <ac:spMk id="3" creationId="{2669CA51-9141-163D-B6E4-21CCC44F0295}"/>
          </ac:spMkLst>
        </pc:spChg>
      </pc:sldChg>
      <pc:sldChg chg="delSp modSp mod">
        <pc:chgData name="Wolfgang Moser" userId="733df6ee-58a4-4fd3-968f-bdef169b40f6" providerId="ADAL" clId="{B1C836C9-ECDD-4933-BBAF-9EE971F313BF}" dt="2024-10-14T13:15:24.339" v="4809" actId="478"/>
        <pc:sldMkLst>
          <pc:docMk/>
          <pc:sldMk cId="502728312" sldId="490"/>
        </pc:sldMkLst>
        <pc:picChg chg="del mod">
          <ac:chgData name="Wolfgang Moser" userId="733df6ee-58a4-4fd3-968f-bdef169b40f6" providerId="ADAL" clId="{B1C836C9-ECDD-4933-BBAF-9EE971F313BF}" dt="2024-10-14T13:15:24.339" v="4809" actId="478"/>
          <ac:picMkLst>
            <pc:docMk/>
            <pc:sldMk cId="502728312" sldId="490"/>
            <ac:picMk id="18" creationId="{9C5D5249-3475-F908-3E2F-E7B8B521109E}"/>
          </ac:picMkLst>
        </pc:picChg>
      </pc:sldChg>
      <pc:sldChg chg="addSp modSp">
        <pc:chgData name="Wolfgang Moser" userId="733df6ee-58a4-4fd3-968f-bdef169b40f6" providerId="ADAL" clId="{B1C836C9-ECDD-4933-BBAF-9EE971F313BF}" dt="2024-10-09T08:44:31.435" v="212" actId="164"/>
        <pc:sldMkLst>
          <pc:docMk/>
          <pc:sldMk cId="338238397" sldId="494"/>
        </pc:sldMkLst>
        <pc:spChg chg="mod">
          <ac:chgData name="Wolfgang Moser" userId="733df6ee-58a4-4fd3-968f-bdef169b40f6" providerId="ADAL" clId="{B1C836C9-ECDD-4933-BBAF-9EE971F313BF}" dt="2024-10-09T08:44:31.435" v="212" actId="164"/>
          <ac:spMkLst>
            <pc:docMk/>
            <pc:sldMk cId="338238397" sldId="494"/>
            <ac:spMk id="13" creationId="{161F6944-94A4-1CDB-F33C-99ED25A745C8}"/>
          </ac:spMkLst>
        </pc:spChg>
        <pc:spChg chg="mod">
          <ac:chgData name="Wolfgang Moser" userId="733df6ee-58a4-4fd3-968f-bdef169b40f6" providerId="ADAL" clId="{B1C836C9-ECDD-4933-BBAF-9EE971F313BF}" dt="2024-10-09T08:44:31.435" v="212" actId="164"/>
          <ac:spMkLst>
            <pc:docMk/>
            <pc:sldMk cId="338238397" sldId="494"/>
            <ac:spMk id="14" creationId="{8B47C4A5-5FE8-9AD2-340C-3379C9E41422}"/>
          </ac:spMkLst>
        </pc:spChg>
        <pc:spChg chg="mod">
          <ac:chgData name="Wolfgang Moser" userId="733df6ee-58a4-4fd3-968f-bdef169b40f6" providerId="ADAL" clId="{B1C836C9-ECDD-4933-BBAF-9EE971F313BF}" dt="2024-10-09T08:44:31.435" v="212" actId="164"/>
          <ac:spMkLst>
            <pc:docMk/>
            <pc:sldMk cId="338238397" sldId="494"/>
            <ac:spMk id="15" creationId="{3E26290E-9D43-5B9D-8D93-E28F2198E7C9}"/>
          </ac:spMkLst>
        </pc:spChg>
        <pc:spChg chg="mod">
          <ac:chgData name="Wolfgang Moser" userId="733df6ee-58a4-4fd3-968f-bdef169b40f6" providerId="ADAL" clId="{B1C836C9-ECDD-4933-BBAF-9EE971F313BF}" dt="2024-10-09T08:44:31.435" v="212" actId="164"/>
          <ac:spMkLst>
            <pc:docMk/>
            <pc:sldMk cId="338238397" sldId="494"/>
            <ac:spMk id="16" creationId="{8724FD5E-1763-CC1F-C2A3-4E4FEF18444E}"/>
          </ac:spMkLst>
        </pc:spChg>
        <pc:spChg chg="mod">
          <ac:chgData name="Wolfgang Moser" userId="733df6ee-58a4-4fd3-968f-bdef169b40f6" providerId="ADAL" clId="{B1C836C9-ECDD-4933-BBAF-9EE971F313BF}" dt="2024-10-09T08:44:31.435" v="212" actId="164"/>
          <ac:spMkLst>
            <pc:docMk/>
            <pc:sldMk cId="338238397" sldId="494"/>
            <ac:spMk id="17" creationId="{BBC477D5-D60D-4F2F-DBBE-2268AB036556}"/>
          </ac:spMkLst>
        </pc:spChg>
        <pc:spChg chg="mod">
          <ac:chgData name="Wolfgang Moser" userId="733df6ee-58a4-4fd3-968f-bdef169b40f6" providerId="ADAL" clId="{B1C836C9-ECDD-4933-BBAF-9EE971F313BF}" dt="2024-10-09T08:44:31.435" v="212" actId="164"/>
          <ac:spMkLst>
            <pc:docMk/>
            <pc:sldMk cId="338238397" sldId="494"/>
            <ac:spMk id="18" creationId="{CE427832-4D41-A6A1-AA71-B4B7380C0332}"/>
          </ac:spMkLst>
        </pc:spChg>
        <pc:spChg chg="mod">
          <ac:chgData name="Wolfgang Moser" userId="733df6ee-58a4-4fd3-968f-bdef169b40f6" providerId="ADAL" clId="{B1C836C9-ECDD-4933-BBAF-9EE971F313BF}" dt="2024-10-09T08:44:31.435" v="212" actId="164"/>
          <ac:spMkLst>
            <pc:docMk/>
            <pc:sldMk cId="338238397" sldId="494"/>
            <ac:spMk id="19" creationId="{0EE6F30C-ECA9-4303-D9DA-BC9D7CCC6B66}"/>
          </ac:spMkLst>
        </pc:spChg>
        <pc:spChg chg="mod">
          <ac:chgData name="Wolfgang Moser" userId="733df6ee-58a4-4fd3-968f-bdef169b40f6" providerId="ADAL" clId="{B1C836C9-ECDD-4933-BBAF-9EE971F313BF}" dt="2024-10-09T08:44:31.435" v="212" actId="164"/>
          <ac:spMkLst>
            <pc:docMk/>
            <pc:sldMk cId="338238397" sldId="494"/>
            <ac:spMk id="20" creationId="{F948840E-608D-4B68-5B8D-60CD72A31B0A}"/>
          </ac:spMkLst>
        </pc:spChg>
        <pc:grpChg chg="add mod">
          <ac:chgData name="Wolfgang Moser" userId="733df6ee-58a4-4fd3-968f-bdef169b40f6" providerId="ADAL" clId="{B1C836C9-ECDD-4933-BBAF-9EE971F313BF}" dt="2024-10-09T08:44:31.435" v="212" actId="164"/>
          <ac:grpSpMkLst>
            <pc:docMk/>
            <pc:sldMk cId="338238397" sldId="494"/>
            <ac:grpSpMk id="5" creationId="{158A3985-43AE-C232-6037-8F36EB6ABF73}"/>
          </ac:grpSpMkLst>
        </pc:grpChg>
        <pc:picChg chg="mod">
          <ac:chgData name="Wolfgang Moser" userId="733df6ee-58a4-4fd3-968f-bdef169b40f6" providerId="ADAL" clId="{B1C836C9-ECDD-4933-BBAF-9EE971F313BF}" dt="2024-10-09T08:44:31.435" v="212" actId="164"/>
          <ac:picMkLst>
            <pc:docMk/>
            <pc:sldMk cId="338238397" sldId="494"/>
            <ac:picMk id="11" creationId="{19308C4E-90B3-F372-8505-7F0411997FF2}"/>
          </ac:picMkLst>
        </pc:picChg>
      </pc:sldChg>
      <pc:sldChg chg="modSp mod">
        <pc:chgData name="Wolfgang Moser" userId="733df6ee-58a4-4fd3-968f-bdef169b40f6" providerId="ADAL" clId="{B1C836C9-ECDD-4933-BBAF-9EE971F313BF}" dt="2024-10-10T08:25:23.726" v="3327" actId="20577"/>
        <pc:sldMkLst>
          <pc:docMk/>
          <pc:sldMk cId="576891113" sldId="497"/>
        </pc:sldMkLst>
        <pc:spChg chg="mod">
          <ac:chgData name="Wolfgang Moser" userId="733df6ee-58a4-4fd3-968f-bdef169b40f6" providerId="ADAL" clId="{B1C836C9-ECDD-4933-BBAF-9EE971F313BF}" dt="2024-10-10T08:25:23.726" v="3327" actId="20577"/>
          <ac:spMkLst>
            <pc:docMk/>
            <pc:sldMk cId="576891113" sldId="497"/>
            <ac:spMk id="16" creationId="{62FF5C9B-2A8F-36F0-3010-9965AEACEF52}"/>
          </ac:spMkLst>
        </pc:spChg>
      </pc:sldChg>
      <pc:sldChg chg="modNotesTx">
        <pc:chgData name="Wolfgang Moser" userId="733df6ee-58a4-4fd3-968f-bdef169b40f6" providerId="ADAL" clId="{B1C836C9-ECDD-4933-BBAF-9EE971F313BF}" dt="2024-10-14T13:41:30.847" v="4810" actId="20577"/>
        <pc:sldMkLst>
          <pc:docMk/>
          <pc:sldMk cId="2623481439" sldId="499"/>
        </pc:sldMkLst>
      </pc:sldChg>
      <pc:sldChg chg="delSp mod">
        <pc:chgData name="Wolfgang Moser" userId="733df6ee-58a4-4fd3-968f-bdef169b40f6" providerId="ADAL" clId="{B1C836C9-ECDD-4933-BBAF-9EE971F313BF}" dt="2024-10-14T13:49:33.018" v="4815" actId="478"/>
        <pc:sldMkLst>
          <pc:docMk/>
          <pc:sldMk cId="1755069757" sldId="501"/>
        </pc:sldMkLst>
        <pc:spChg chg="del">
          <ac:chgData name="Wolfgang Moser" userId="733df6ee-58a4-4fd3-968f-bdef169b40f6" providerId="ADAL" clId="{B1C836C9-ECDD-4933-BBAF-9EE971F313BF}" dt="2024-10-14T13:49:33.018" v="4815" actId="478"/>
          <ac:spMkLst>
            <pc:docMk/>
            <pc:sldMk cId="1755069757" sldId="501"/>
            <ac:spMk id="20" creationId="{C502FAB1-386B-EE61-5DE8-64064C0CD621}"/>
          </ac:spMkLst>
        </pc:spChg>
      </pc:sldChg>
      <pc:sldChg chg="modSp mod">
        <pc:chgData name="Wolfgang Moser" userId="733df6ee-58a4-4fd3-968f-bdef169b40f6" providerId="ADAL" clId="{B1C836C9-ECDD-4933-BBAF-9EE971F313BF}" dt="2024-10-10T07:33:16.157" v="2750" actId="20577"/>
        <pc:sldMkLst>
          <pc:docMk/>
          <pc:sldMk cId="3012189988" sldId="502"/>
        </pc:sldMkLst>
        <pc:spChg chg="mod">
          <ac:chgData name="Wolfgang Moser" userId="733df6ee-58a4-4fd3-968f-bdef169b40f6" providerId="ADAL" clId="{B1C836C9-ECDD-4933-BBAF-9EE971F313BF}" dt="2024-10-10T07:33:16.157" v="2750" actId="20577"/>
          <ac:spMkLst>
            <pc:docMk/>
            <pc:sldMk cId="3012189988" sldId="502"/>
            <ac:spMk id="5" creationId="{E9CF6BE3-927E-7DA6-145F-29E07A48A639}"/>
          </ac:spMkLst>
        </pc:spChg>
      </pc:sldChg>
      <pc:sldChg chg="addSp delSp modSp add mod">
        <pc:chgData name="Wolfgang Moser" userId="733df6ee-58a4-4fd3-968f-bdef169b40f6" providerId="ADAL" clId="{B1C836C9-ECDD-4933-BBAF-9EE971F313BF}" dt="2024-10-09T08:44:19.813" v="211" actId="164"/>
        <pc:sldMkLst>
          <pc:docMk/>
          <pc:sldMk cId="3030009705" sldId="504"/>
        </pc:sldMkLst>
        <pc:spChg chg="mod">
          <ac:chgData name="Wolfgang Moser" userId="733df6ee-58a4-4fd3-968f-bdef169b40f6" providerId="ADAL" clId="{B1C836C9-ECDD-4933-BBAF-9EE971F313BF}" dt="2024-10-09T07:46:40.580" v="3"/>
          <ac:spMkLst>
            <pc:docMk/>
            <pc:sldMk cId="3030009705" sldId="504"/>
            <ac:spMk id="2" creationId="{9A855867-630C-30C2-C217-861779BEDB36}"/>
          </ac:spMkLst>
        </pc:spChg>
        <pc:spChg chg="del mod">
          <ac:chgData name="Wolfgang Moser" userId="733df6ee-58a4-4fd3-968f-bdef169b40f6" providerId="ADAL" clId="{B1C836C9-ECDD-4933-BBAF-9EE971F313BF}" dt="2024-10-09T08:15:51.755" v="47" actId="478"/>
          <ac:spMkLst>
            <pc:docMk/>
            <pc:sldMk cId="3030009705" sldId="504"/>
            <ac:spMk id="5" creationId="{E9CF6BE3-927E-7DA6-145F-29E07A48A639}"/>
          </ac:spMkLst>
        </pc:spChg>
        <pc:spChg chg="add del mod">
          <ac:chgData name="Wolfgang Moser" userId="733df6ee-58a4-4fd3-968f-bdef169b40f6" providerId="ADAL" clId="{B1C836C9-ECDD-4933-BBAF-9EE971F313BF}" dt="2024-10-09T08:15:55.749" v="48" actId="478"/>
          <ac:spMkLst>
            <pc:docMk/>
            <pc:sldMk cId="3030009705" sldId="504"/>
            <ac:spMk id="16" creationId="{48F060DA-7C6C-E1E2-7FAC-95A70F84360C}"/>
          </ac:spMkLst>
        </pc:spChg>
        <pc:spChg chg="add mod">
          <ac:chgData name="Wolfgang Moser" userId="733df6ee-58a4-4fd3-968f-bdef169b40f6" providerId="ADAL" clId="{B1C836C9-ECDD-4933-BBAF-9EE971F313BF}" dt="2024-10-09T08:44:19.813" v="211" actId="164"/>
          <ac:spMkLst>
            <pc:docMk/>
            <pc:sldMk cId="3030009705" sldId="504"/>
            <ac:spMk id="18" creationId="{BC027602-E975-DF84-B5F4-A6386E6500B7}"/>
          </ac:spMkLst>
        </pc:spChg>
        <pc:spChg chg="add mod">
          <ac:chgData name="Wolfgang Moser" userId="733df6ee-58a4-4fd3-968f-bdef169b40f6" providerId="ADAL" clId="{B1C836C9-ECDD-4933-BBAF-9EE971F313BF}" dt="2024-10-09T08:44:19.813" v="211" actId="164"/>
          <ac:spMkLst>
            <pc:docMk/>
            <pc:sldMk cId="3030009705" sldId="504"/>
            <ac:spMk id="19" creationId="{DC8F54DF-49F3-56A7-55FB-BFB50F6CC0D1}"/>
          </ac:spMkLst>
        </pc:spChg>
        <pc:spChg chg="add mod">
          <ac:chgData name="Wolfgang Moser" userId="733df6ee-58a4-4fd3-968f-bdef169b40f6" providerId="ADAL" clId="{B1C836C9-ECDD-4933-BBAF-9EE971F313BF}" dt="2024-10-09T08:44:19.813" v="211" actId="164"/>
          <ac:spMkLst>
            <pc:docMk/>
            <pc:sldMk cId="3030009705" sldId="504"/>
            <ac:spMk id="20" creationId="{F719A593-B8E0-8419-E105-09E20FFB74F8}"/>
          </ac:spMkLst>
        </pc:spChg>
        <pc:spChg chg="add mod">
          <ac:chgData name="Wolfgang Moser" userId="733df6ee-58a4-4fd3-968f-bdef169b40f6" providerId="ADAL" clId="{B1C836C9-ECDD-4933-BBAF-9EE971F313BF}" dt="2024-10-09T08:44:19.813" v="211" actId="164"/>
          <ac:spMkLst>
            <pc:docMk/>
            <pc:sldMk cId="3030009705" sldId="504"/>
            <ac:spMk id="21" creationId="{16A90F25-5C85-8BDF-FCD2-C80A7EA57D43}"/>
          </ac:spMkLst>
        </pc:spChg>
        <pc:spChg chg="add mod">
          <ac:chgData name="Wolfgang Moser" userId="733df6ee-58a4-4fd3-968f-bdef169b40f6" providerId="ADAL" clId="{B1C836C9-ECDD-4933-BBAF-9EE971F313BF}" dt="2024-10-09T08:44:19.813" v="211" actId="164"/>
          <ac:spMkLst>
            <pc:docMk/>
            <pc:sldMk cId="3030009705" sldId="504"/>
            <ac:spMk id="22" creationId="{F9A1BBC8-F6B5-2AD7-5FF1-436B677531D9}"/>
          </ac:spMkLst>
        </pc:spChg>
        <pc:spChg chg="add mod ord">
          <ac:chgData name="Wolfgang Moser" userId="733df6ee-58a4-4fd3-968f-bdef169b40f6" providerId="ADAL" clId="{B1C836C9-ECDD-4933-BBAF-9EE971F313BF}" dt="2024-10-09T08:44:19.813" v="211" actId="164"/>
          <ac:spMkLst>
            <pc:docMk/>
            <pc:sldMk cId="3030009705" sldId="504"/>
            <ac:spMk id="23" creationId="{60DF4D6F-B011-EFCC-ACF3-3E04A279026E}"/>
          </ac:spMkLst>
        </pc:spChg>
        <pc:spChg chg="add mod">
          <ac:chgData name="Wolfgang Moser" userId="733df6ee-58a4-4fd3-968f-bdef169b40f6" providerId="ADAL" clId="{B1C836C9-ECDD-4933-BBAF-9EE971F313BF}" dt="2024-10-09T08:44:19.813" v="211" actId="164"/>
          <ac:spMkLst>
            <pc:docMk/>
            <pc:sldMk cId="3030009705" sldId="504"/>
            <ac:spMk id="24" creationId="{EFA38E59-7C43-4558-E5FF-9B502D0EBBE6}"/>
          </ac:spMkLst>
        </pc:spChg>
        <pc:grpChg chg="add mod">
          <ac:chgData name="Wolfgang Moser" userId="733df6ee-58a4-4fd3-968f-bdef169b40f6" providerId="ADAL" clId="{B1C836C9-ECDD-4933-BBAF-9EE971F313BF}" dt="2024-10-09T08:44:19.813" v="211" actId="164"/>
          <ac:grpSpMkLst>
            <pc:docMk/>
            <pc:sldMk cId="3030009705" sldId="504"/>
            <ac:grpSpMk id="25" creationId="{788C74C1-E94B-22CE-5163-49CD7B95D242}"/>
          </ac:grpSpMkLst>
        </pc:grpChg>
        <pc:picChg chg="add mod">
          <ac:chgData name="Wolfgang Moser" userId="733df6ee-58a4-4fd3-968f-bdef169b40f6" providerId="ADAL" clId="{B1C836C9-ECDD-4933-BBAF-9EE971F313BF}" dt="2024-10-09T07:47:11.610" v="12" actId="1076"/>
          <ac:picMkLst>
            <pc:docMk/>
            <pc:sldMk cId="3030009705" sldId="504"/>
            <ac:picMk id="4" creationId="{04FB4568-30F1-4FD8-4AC0-1B35FB997535}"/>
          </ac:picMkLst>
        </pc:picChg>
        <pc:picChg chg="add mod">
          <ac:chgData name="Wolfgang Moser" userId="733df6ee-58a4-4fd3-968f-bdef169b40f6" providerId="ADAL" clId="{B1C836C9-ECDD-4933-BBAF-9EE971F313BF}" dt="2024-10-09T08:44:19.813" v="211" actId="164"/>
          <ac:picMkLst>
            <pc:docMk/>
            <pc:sldMk cId="3030009705" sldId="504"/>
            <ac:picMk id="11" creationId="{68D78039-3276-0EDC-2273-7F0275C04E71}"/>
          </ac:picMkLst>
        </pc:picChg>
        <pc:picChg chg="del">
          <ac:chgData name="Wolfgang Moser" userId="733df6ee-58a4-4fd3-968f-bdef169b40f6" providerId="ADAL" clId="{B1C836C9-ECDD-4933-BBAF-9EE971F313BF}" dt="2024-10-09T07:47:08.095" v="11" actId="478"/>
          <ac:picMkLst>
            <pc:docMk/>
            <pc:sldMk cId="3030009705" sldId="504"/>
            <ac:picMk id="12" creationId="{E0709C4A-6F97-13E8-B175-19BA4E47EC56}"/>
          </ac:picMkLst>
        </pc:picChg>
        <pc:picChg chg="del">
          <ac:chgData name="Wolfgang Moser" userId="733df6ee-58a4-4fd3-968f-bdef169b40f6" providerId="ADAL" clId="{B1C836C9-ECDD-4933-BBAF-9EE971F313BF}" dt="2024-10-09T08:12:46.081" v="15" actId="478"/>
          <ac:picMkLst>
            <pc:docMk/>
            <pc:sldMk cId="3030009705" sldId="504"/>
            <ac:picMk id="17" creationId="{D5791159-E8CB-8C6A-C72D-029D2D611CD9}"/>
          </ac:picMkLst>
        </pc:picChg>
      </pc:sldChg>
      <pc:sldChg chg="delSp modSp add mod ord">
        <pc:chgData name="Wolfgang Moser" userId="733df6ee-58a4-4fd3-968f-bdef169b40f6" providerId="ADAL" clId="{B1C836C9-ECDD-4933-BBAF-9EE971F313BF}" dt="2024-10-09T08:17:37.262" v="71"/>
        <pc:sldMkLst>
          <pc:docMk/>
          <pc:sldMk cId="2472378801" sldId="505"/>
        </pc:sldMkLst>
        <pc:spChg chg="mod">
          <ac:chgData name="Wolfgang Moser" userId="733df6ee-58a4-4fd3-968f-bdef169b40f6" providerId="ADAL" clId="{B1C836C9-ECDD-4933-BBAF-9EE971F313BF}" dt="2024-10-09T08:16:50.116" v="69" actId="113"/>
          <ac:spMkLst>
            <pc:docMk/>
            <pc:sldMk cId="2472378801" sldId="505"/>
            <ac:spMk id="5" creationId="{E9CF6BE3-927E-7DA6-145F-29E07A48A639}"/>
          </ac:spMkLst>
        </pc:spChg>
        <pc:picChg chg="del">
          <ac:chgData name="Wolfgang Moser" userId="733df6ee-58a4-4fd3-968f-bdef169b40f6" providerId="ADAL" clId="{B1C836C9-ECDD-4933-BBAF-9EE971F313BF}" dt="2024-10-09T08:16:13.059" v="54" actId="478"/>
          <ac:picMkLst>
            <pc:docMk/>
            <pc:sldMk cId="2472378801" sldId="505"/>
            <ac:picMk id="11" creationId="{68D78039-3276-0EDC-2273-7F0275C04E71}"/>
          </ac:picMkLst>
        </pc:picChg>
      </pc:sldChg>
      <pc:sldChg chg="addSp delSp modSp add mod chgLayout">
        <pc:chgData name="Wolfgang Moser" userId="733df6ee-58a4-4fd3-968f-bdef169b40f6" providerId="ADAL" clId="{B1C836C9-ECDD-4933-BBAF-9EE971F313BF}" dt="2024-10-09T09:48:59.859" v="730" actId="164"/>
        <pc:sldMkLst>
          <pc:docMk/>
          <pc:sldMk cId="3543268867" sldId="506"/>
        </pc:sldMkLst>
        <pc:spChg chg="mod ord">
          <ac:chgData name="Wolfgang Moser" userId="733df6ee-58a4-4fd3-968f-bdef169b40f6" providerId="ADAL" clId="{B1C836C9-ECDD-4933-BBAF-9EE971F313BF}" dt="2024-10-09T08:44:57.740" v="213" actId="700"/>
          <ac:spMkLst>
            <pc:docMk/>
            <pc:sldMk cId="3543268867" sldId="506"/>
            <ac:spMk id="2" creationId="{9A855867-630C-30C2-C217-861779BEDB36}"/>
          </ac:spMkLst>
        </pc:spChg>
        <pc:spChg chg="add mod ord">
          <ac:chgData name="Wolfgang Moser" userId="733df6ee-58a4-4fd3-968f-bdef169b40f6" providerId="ADAL" clId="{B1C836C9-ECDD-4933-BBAF-9EE971F313BF}" dt="2024-10-09T08:59:07.619" v="728" actId="20577"/>
          <ac:spMkLst>
            <pc:docMk/>
            <pc:sldMk cId="3543268867" sldId="506"/>
            <ac:spMk id="3" creationId="{1E003206-BE47-12E6-E86C-ACA704F0ADFA}"/>
          </ac:spMkLst>
        </pc:spChg>
        <pc:spChg chg="add mod ord">
          <ac:chgData name="Wolfgang Moser" userId="733df6ee-58a4-4fd3-968f-bdef169b40f6" providerId="ADAL" clId="{B1C836C9-ECDD-4933-BBAF-9EE971F313BF}" dt="2024-10-09T08:44:57.740" v="213" actId="700"/>
          <ac:spMkLst>
            <pc:docMk/>
            <pc:sldMk cId="3543268867" sldId="506"/>
            <ac:spMk id="5" creationId="{152C4829-FAF2-1BEE-11CC-962AD3CB8721}"/>
          </ac:spMkLst>
        </pc:spChg>
        <pc:spChg chg="mod ord">
          <ac:chgData name="Wolfgang Moser" userId="733df6ee-58a4-4fd3-968f-bdef169b40f6" providerId="ADAL" clId="{B1C836C9-ECDD-4933-BBAF-9EE971F313BF}" dt="2024-10-09T08:44:57.740" v="213" actId="700"/>
          <ac:spMkLst>
            <pc:docMk/>
            <pc:sldMk cId="3543268867" sldId="506"/>
            <ac:spMk id="6" creationId="{2472759E-297A-9BDF-158A-A0D15A8E8BB0}"/>
          </ac:spMkLst>
        </pc:spChg>
        <pc:spChg chg="mod ord">
          <ac:chgData name="Wolfgang Moser" userId="733df6ee-58a4-4fd3-968f-bdef169b40f6" providerId="ADAL" clId="{B1C836C9-ECDD-4933-BBAF-9EE971F313BF}" dt="2024-10-09T08:44:57.740" v="213" actId="700"/>
          <ac:spMkLst>
            <pc:docMk/>
            <pc:sldMk cId="3543268867" sldId="506"/>
            <ac:spMk id="7" creationId="{CD5EE9F3-41F7-21B6-DA33-99990CD5B944}"/>
          </ac:spMkLst>
        </pc:spChg>
        <pc:spChg chg="mod ord">
          <ac:chgData name="Wolfgang Moser" userId="733df6ee-58a4-4fd3-968f-bdef169b40f6" providerId="ADAL" clId="{B1C836C9-ECDD-4933-BBAF-9EE971F313BF}" dt="2024-10-09T08:44:57.740" v="213" actId="700"/>
          <ac:spMkLst>
            <pc:docMk/>
            <pc:sldMk cId="3543268867" sldId="506"/>
            <ac:spMk id="8" creationId="{F928C4B1-B8F6-4565-66AE-67CD5AA4CD8C}"/>
          </ac:spMkLst>
        </pc:spChg>
        <pc:spChg chg="mod ord">
          <ac:chgData name="Wolfgang Moser" userId="733df6ee-58a4-4fd3-968f-bdef169b40f6" providerId="ADAL" clId="{B1C836C9-ECDD-4933-BBAF-9EE971F313BF}" dt="2024-10-09T08:44:57.740" v="213" actId="700"/>
          <ac:spMkLst>
            <pc:docMk/>
            <pc:sldMk cId="3543268867" sldId="506"/>
            <ac:spMk id="9" creationId="{6E80A326-7DDE-6799-C0D1-1908FBB9B7BC}"/>
          </ac:spMkLst>
        </pc:spChg>
        <pc:spChg chg="add mod ord">
          <ac:chgData name="Wolfgang Moser" userId="733df6ee-58a4-4fd3-968f-bdef169b40f6" providerId="ADAL" clId="{B1C836C9-ECDD-4933-BBAF-9EE971F313BF}" dt="2024-10-09T08:44:57.740" v="213" actId="700"/>
          <ac:spMkLst>
            <pc:docMk/>
            <pc:sldMk cId="3543268867" sldId="506"/>
            <ac:spMk id="10" creationId="{AC158A23-861E-674B-1B06-21C1C11F8F4C}"/>
          </ac:spMkLst>
        </pc:spChg>
        <pc:spChg chg="del">
          <ac:chgData name="Wolfgang Moser" userId="733df6ee-58a4-4fd3-968f-bdef169b40f6" providerId="ADAL" clId="{B1C836C9-ECDD-4933-BBAF-9EE971F313BF}" dt="2024-10-09T08:44:57.740" v="213" actId="700"/>
          <ac:spMkLst>
            <pc:docMk/>
            <pc:sldMk cId="3543268867" sldId="506"/>
            <ac:spMk id="13" creationId="{BF7166DB-3CAB-85A6-A257-745FE201DFD5}"/>
          </ac:spMkLst>
        </pc:spChg>
        <pc:spChg chg="del">
          <ac:chgData name="Wolfgang Moser" userId="733df6ee-58a4-4fd3-968f-bdef169b40f6" providerId="ADAL" clId="{B1C836C9-ECDD-4933-BBAF-9EE971F313BF}" dt="2024-10-09T08:44:57.740" v="213" actId="700"/>
          <ac:spMkLst>
            <pc:docMk/>
            <pc:sldMk cId="3543268867" sldId="506"/>
            <ac:spMk id="14" creationId="{DC3EFFE2-4211-4BF3-3A70-73079B312105}"/>
          </ac:spMkLst>
        </pc:spChg>
        <pc:spChg chg="add mod">
          <ac:chgData name="Wolfgang Moser" userId="733df6ee-58a4-4fd3-968f-bdef169b40f6" providerId="ADAL" clId="{B1C836C9-ECDD-4933-BBAF-9EE971F313BF}" dt="2024-10-09T09:48:59.859" v="730" actId="164"/>
          <ac:spMkLst>
            <pc:docMk/>
            <pc:sldMk cId="3543268867" sldId="506"/>
            <ac:spMk id="16" creationId="{713ADDE9-D727-6F40-AEF7-61C6505D382D}"/>
          </ac:spMkLst>
        </pc:spChg>
        <pc:spChg chg="add mod">
          <ac:chgData name="Wolfgang Moser" userId="733df6ee-58a4-4fd3-968f-bdef169b40f6" providerId="ADAL" clId="{B1C836C9-ECDD-4933-BBAF-9EE971F313BF}" dt="2024-10-09T09:48:59.859" v="730" actId="164"/>
          <ac:spMkLst>
            <pc:docMk/>
            <pc:sldMk cId="3543268867" sldId="506"/>
            <ac:spMk id="17" creationId="{A075AD0A-1102-227E-E243-EBB9169C6E1D}"/>
          </ac:spMkLst>
        </pc:spChg>
        <pc:spChg chg="del">
          <ac:chgData name="Wolfgang Moser" userId="733df6ee-58a4-4fd3-968f-bdef169b40f6" providerId="ADAL" clId="{B1C836C9-ECDD-4933-BBAF-9EE971F313BF}" dt="2024-10-09T08:44:12.542" v="210" actId="478"/>
          <ac:spMkLst>
            <pc:docMk/>
            <pc:sldMk cId="3543268867" sldId="506"/>
            <ac:spMk id="18" creationId="{BC027602-E975-DF84-B5F4-A6386E6500B7}"/>
          </ac:spMkLst>
        </pc:spChg>
        <pc:spChg chg="del">
          <ac:chgData name="Wolfgang Moser" userId="733df6ee-58a4-4fd3-968f-bdef169b40f6" providerId="ADAL" clId="{B1C836C9-ECDD-4933-BBAF-9EE971F313BF}" dt="2024-10-09T08:44:12.542" v="210" actId="478"/>
          <ac:spMkLst>
            <pc:docMk/>
            <pc:sldMk cId="3543268867" sldId="506"/>
            <ac:spMk id="19" creationId="{DC8F54DF-49F3-56A7-55FB-BFB50F6CC0D1}"/>
          </ac:spMkLst>
        </pc:spChg>
        <pc:spChg chg="del">
          <ac:chgData name="Wolfgang Moser" userId="733df6ee-58a4-4fd3-968f-bdef169b40f6" providerId="ADAL" clId="{B1C836C9-ECDD-4933-BBAF-9EE971F313BF}" dt="2024-10-09T08:44:12.542" v="210" actId="478"/>
          <ac:spMkLst>
            <pc:docMk/>
            <pc:sldMk cId="3543268867" sldId="506"/>
            <ac:spMk id="20" creationId="{F719A593-B8E0-8419-E105-09E20FFB74F8}"/>
          </ac:spMkLst>
        </pc:spChg>
        <pc:spChg chg="del">
          <ac:chgData name="Wolfgang Moser" userId="733df6ee-58a4-4fd3-968f-bdef169b40f6" providerId="ADAL" clId="{B1C836C9-ECDD-4933-BBAF-9EE971F313BF}" dt="2024-10-09T08:44:12.542" v="210" actId="478"/>
          <ac:spMkLst>
            <pc:docMk/>
            <pc:sldMk cId="3543268867" sldId="506"/>
            <ac:spMk id="21" creationId="{16A90F25-5C85-8BDF-FCD2-C80A7EA57D43}"/>
          </ac:spMkLst>
        </pc:spChg>
        <pc:spChg chg="del">
          <ac:chgData name="Wolfgang Moser" userId="733df6ee-58a4-4fd3-968f-bdef169b40f6" providerId="ADAL" clId="{B1C836C9-ECDD-4933-BBAF-9EE971F313BF}" dt="2024-10-09T08:44:12.542" v="210" actId="478"/>
          <ac:spMkLst>
            <pc:docMk/>
            <pc:sldMk cId="3543268867" sldId="506"/>
            <ac:spMk id="22" creationId="{F9A1BBC8-F6B5-2AD7-5FF1-436B677531D9}"/>
          </ac:spMkLst>
        </pc:spChg>
        <pc:spChg chg="del">
          <ac:chgData name="Wolfgang Moser" userId="733df6ee-58a4-4fd3-968f-bdef169b40f6" providerId="ADAL" clId="{B1C836C9-ECDD-4933-BBAF-9EE971F313BF}" dt="2024-10-09T08:44:12.542" v="210" actId="478"/>
          <ac:spMkLst>
            <pc:docMk/>
            <pc:sldMk cId="3543268867" sldId="506"/>
            <ac:spMk id="23" creationId="{60DF4D6F-B011-EFCC-ACF3-3E04A279026E}"/>
          </ac:spMkLst>
        </pc:spChg>
        <pc:spChg chg="del">
          <ac:chgData name="Wolfgang Moser" userId="733df6ee-58a4-4fd3-968f-bdef169b40f6" providerId="ADAL" clId="{B1C836C9-ECDD-4933-BBAF-9EE971F313BF}" dt="2024-10-09T08:44:12.542" v="210" actId="478"/>
          <ac:spMkLst>
            <pc:docMk/>
            <pc:sldMk cId="3543268867" sldId="506"/>
            <ac:spMk id="24" creationId="{EFA38E59-7C43-4558-E5FF-9B502D0EBBE6}"/>
          </ac:spMkLst>
        </pc:spChg>
        <pc:grpChg chg="add mod">
          <ac:chgData name="Wolfgang Moser" userId="733df6ee-58a4-4fd3-968f-bdef169b40f6" providerId="ADAL" clId="{B1C836C9-ECDD-4933-BBAF-9EE971F313BF}" dt="2024-10-09T09:48:59.859" v="730" actId="164"/>
          <ac:grpSpMkLst>
            <pc:docMk/>
            <pc:sldMk cId="3543268867" sldId="506"/>
            <ac:grpSpMk id="25" creationId="{65B8683E-B03E-3813-6198-3D58A1EC914F}"/>
          </ac:grpSpMkLst>
        </pc:grpChg>
        <pc:picChg chg="del">
          <ac:chgData name="Wolfgang Moser" userId="733df6ee-58a4-4fd3-968f-bdef169b40f6" providerId="ADAL" clId="{B1C836C9-ECDD-4933-BBAF-9EE971F313BF}" dt="2024-10-09T08:44:09.737" v="209" actId="478"/>
          <ac:picMkLst>
            <pc:docMk/>
            <pc:sldMk cId="3543268867" sldId="506"/>
            <ac:picMk id="11" creationId="{68D78039-3276-0EDC-2273-7F0275C04E71}"/>
          </ac:picMkLst>
        </pc:picChg>
        <pc:picChg chg="add mod">
          <ac:chgData name="Wolfgang Moser" userId="733df6ee-58a4-4fd3-968f-bdef169b40f6" providerId="ADAL" clId="{B1C836C9-ECDD-4933-BBAF-9EE971F313BF}" dt="2024-10-09T09:48:59.859" v="730" actId="164"/>
          <ac:picMkLst>
            <pc:docMk/>
            <pc:sldMk cId="3543268867" sldId="506"/>
            <ac:picMk id="15" creationId="{95DAF6CB-C9E3-3D31-46FD-81F663D484A7}"/>
          </ac:picMkLst>
        </pc:picChg>
      </pc:sldChg>
      <pc:sldChg chg="addSp delSp modSp add mod chgLayout">
        <pc:chgData name="Wolfgang Moser" userId="733df6ee-58a4-4fd3-968f-bdef169b40f6" providerId="ADAL" clId="{B1C836C9-ECDD-4933-BBAF-9EE971F313BF}" dt="2024-10-10T11:05:55.840" v="4569" actId="1076"/>
        <pc:sldMkLst>
          <pc:docMk/>
          <pc:sldMk cId="701717517" sldId="507"/>
        </pc:sldMkLst>
        <pc:spChg chg="mod ord">
          <ac:chgData name="Wolfgang Moser" userId="733df6ee-58a4-4fd3-968f-bdef169b40f6" providerId="ADAL" clId="{B1C836C9-ECDD-4933-BBAF-9EE971F313BF}" dt="2024-10-09T10:11:58.926" v="745" actId="700"/>
          <ac:spMkLst>
            <pc:docMk/>
            <pc:sldMk cId="701717517" sldId="507"/>
            <ac:spMk id="2" creationId="{9A855867-630C-30C2-C217-861779BEDB36}"/>
          </ac:spMkLst>
        </pc:spChg>
        <pc:spChg chg="del mod ord">
          <ac:chgData name="Wolfgang Moser" userId="733df6ee-58a4-4fd3-968f-bdef169b40f6" providerId="ADAL" clId="{B1C836C9-ECDD-4933-BBAF-9EE971F313BF}" dt="2024-10-09T09:56:23.455" v="736" actId="478"/>
          <ac:spMkLst>
            <pc:docMk/>
            <pc:sldMk cId="701717517" sldId="507"/>
            <ac:spMk id="3" creationId="{1E003206-BE47-12E6-E86C-ACA704F0ADFA}"/>
          </ac:spMkLst>
        </pc:spChg>
        <pc:spChg chg="del">
          <ac:chgData name="Wolfgang Moser" userId="733df6ee-58a4-4fd3-968f-bdef169b40f6" providerId="ADAL" clId="{B1C836C9-ECDD-4933-BBAF-9EE971F313BF}" dt="2024-10-09T09:49:10.593" v="732" actId="700"/>
          <ac:spMkLst>
            <pc:docMk/>
            <pc:sldMk cId="701717517" sldId="507"/>
            <ac:spMk id="5" creationId="{152C4829-FAF2-1BEE-11CC-962AD3CB8721}"/>
          </ac:spMkLst>
        </pc:spChg>
        <pc:spChg chg="mod ord">
          <ac:chgData name="Wolfgang Moser" userId="733df6ee-58a4-4fd3-968f-bdef169b40f6" providerId="ADAL" clId="{B1C836C9-ECDD-4933-BBAF-9EE971F313BF}" dt="2024-10-09T10:11:58.926" v="745" actId="700"/>
          <ac:spMkLst>
            <pc:docMk/>
            <pc:sldMk cId="701717517" sldId="507"/>
            <ac:spMk id="6" creationId="{2472759E-297A-9BDF-158A-A0D15A8E8BB0}"/>
          </ac:spMkLst>
        </pc:spChg>
        <pc:spChg chg="mod ord">
          <ac:chgData name="Wolfgang Moser" userId="733df6ee-58a4-4fd3-968f-bdef169b40f6" providerId="ADAL" clId="{B1C836C9-ECDD-4933-BBAF-9EE971F313BF}" dt="2024-10-09T10:11:58.926" v="745" actId="700"/>
          <ac:spMkLst>
            <pc:docMk/>
            <pc:sldMk cId="701717517" sldId="507"/>
            <ac:spMk id="7" creationId="{CD5EE9F3-41F7-21B6-DA33-99990CD5B944}"/>
          </ac:spMkLst>
        </pc:spChg>
        <pc:spChg chg="mod ord">
          <ac:chgData name="Wolfgang Moser" userId="733df6ee-58a4-4fd3-968f-bdef169b40f6" providerId="ADAL" clId="{B1C836C9-ECDD-4933-BBAF-9EE971F313BF}" dt="2024-10-09T10:11:58.926" v="745" actId="700"/>
          <ac:spMkLst>
            <pc:docMk/>
            <pc:sldMk cId="701717517" sldId="507"/>
            <ac:spMk id="8" creationId="{F928C4B1-B8F6-4565-66AE-67CD5AA4CD8C}"/>
          </ac:spMkLst>
        </pc:spChg>
        <pc:spChg chg="mod ord">
          <ac:chgData name="Wolfgang Moser" userId="733df6ee-58a4-4fd3-968f-bdef169b40f6" providerId="ADAL" clId="{B1C836C9-ECDD-4933-BBAF-9EE971F313BF}" dt="2024-10-09T10:11:58.926" v="745" actId="700"/>
          <ac:spMkLst>
            <pc:docMk/>
            <pc:sldMk cId="701717517" sldId="507"/>
            <ac:spMk id="9" creationId="{6E80A326-7DDE-6799-C0D1-1908FBB9B7BC}"/>
          </ac:spMkLst>
        </pc:spChg>
        <pc:spChg chg="del">
          <ac:chgData name="Wolfgang Moser" userId="733df6ee-58a4-4fd3-968f-bdef169b40f6" providerId="ADAL" clId="{B1C836C9-ECDD-4933-BBAF-9EE971F313BF}" dt="2024-10-09T09:49:10.593" v="732" actId="700"/>
          <ac:spMkLst>
            <pc:docMk/>
            <pc:sldMk cId="701717517" sldId="507"/>
            <ac:spMk id="10" creationId="{AC158A23-861E-674B-1B06-21C1C11F8F4C}"/>
          </ac:spMkLst>
        </pc:spChg>
        <pc:spChg chg="add del mod ord">
          <ac:chgData name="Wolfgang Moser" userId="733df6ee-58a4-4fd3-968f-bdef169b40f6" providerId="ADAL" clId="{B1C836C9-ECDD-4933-BBAF-9EE971F313BF}" dt="2024-10-09T10:11:58.926" v="745" actId="700"/>
          <ac:spMkLst>
            <pc:docMk/>
            <pc:sldMk cId="701717517" sldId="507"/>
            <ac:spMk id="11" creationId="{8AE19A96-C98B-9BFB-9E10-5146B1258B3D}"/>
          </ac:spMkLst>
        </pc:spChg>
        <pc:spChg chg="add del mod ord">
          <ac:chgData name="Wolfgang Moser" userId="733df6ee-58a4-4fd3-968f-bdef169b40f6" providerId="ADAL" clId="{B1C836C9-ECDD-4933-BBAF-9EE971F313BF}" dt="2024-10-09T10:11:58.926" v="745" actId="700"/>
          <ac:spMkLst>
            <pc:docMk/>
            <pc:sldMk cId="701717517" sldId="507"/>
            <ac:spMk id="12" creationId="{7AB63D12-1047-6567-E437-1944AA53DE09}"/>
          </ac:spMkLst>
        </pc:spChg>
        <pc:spChg chg="del">
          <ac:chgData name="Wolfgang Moser" userId="733df6ee-58a4-4fd3-968f-bdef169b40f6" providerId="ADAL" clId="{B1C836C9-ECDD-4933-BBAF-9EE971F313BF}" dt="2024-10-09T09:49:05.285" v="731" actId="478"/>
          <ac:spMkLst>
            <pc:docMk/>
            <pc:sldMk cId="701717517" sldId="507"/>
            <ac:spMk id="16" creationId="{713ADDE9-D727-6F40-AEF7-61C6505D382D}"/>
          </ac:spMkLst>
        </pc:spChg>
        <pc:spChg chg="del">
          <ac:chgData name="Wolfgang Moser" userId="733df6ee-58a4-4fd3-968f-bdef169b40f6" providerId="ADAL" clId="{B1C836C9-ECDD-4933-BBAF-9EE971F313BF}" dt="2024-10-09T09:49:05.285" v="731" actId="478"/>
          <ac:spMkLst>
            <pc:docMk/>
            <pc:sldMk cId="701717517" sldId="507"/>
            <ac:spMk id="17" creationId="{A075AD0A-1102-227E-E243-EBB9169C6E1D}"/>
          </ac:spMkLst>
        </pc:spChg>
        <pc:spChg chg="add del mod">
          <ac:chgData name="Wolfgang Moser" userId="733df6ee-58a4-4fd3-968f-bdef169b40f6" providerId="ADAL" clId="{B1C836C9-ECDD-4933-BBAF-9EE971F313BF}" dt="2024-10-09T09:56:28.146" v="737" actId="478"/>
          <ac:spMkLst>
            <pc:docMk/>
            <pc:sldMk cId="701717517" sldId="507"/>
            <ac:spMk id="19" creationId="{A73EB2C8-39FD-C89F-B690-05E7842C683E}"/>
          </ac:spMkLst>
        </pc:spChg>
        <pc:spChg chg="add mod ord">
          <ac:chgData name="Wolfgang Moser" userId="733df6ee-58a4-4fd3-968f-bdef169b40f6" providerId="ADAL" clId="{B1C836C9-ECDD-4933-BBAF-9EE971F313BF}" dt="2024-10-09T10:12:06.419" v="763" actId="113"/>
          <ac:spMkLst>
            <pc:docMk/>
            <pc:sldMk cId="701717517" sldId="507"/>
            <ac:spMk id="20" creationId="{6BDBD1DC-B644-16E6-B7A9-475F7B2C589D}"/>
          </ac:spMkLst>
        </pc:spChg>
        <pc:spChg chg="add mod ord">
          <ac:chgData name="Wolfgang Moser" userId="733df6ee-58a4-4fd3-968f-bdef169b40f6" providerId="ADAL" clId="{B1C836C9-ECDD-4933-BBAF-9EE971F313BF}" dt="2024-10-09T10:11:58.926" v="745" actId="700"/>
          <ac:spMkLst>
            <pc:docMk/>
            <pc:sldMk cId="701717517" sldId="507"/>
            <ac:spMk id="21" creationId="{97E0AA41-2C85-583F-5417-7A000C91B61C}"/>
          </ac:spMkLst>
        </pc:spChg>
        <pc:spChg chg="add mod ord">
          <ac:chgData name="Wolfgang Moser" userId="733df6ee-58a4-4fd3-968f-bdef169b40f6" providerId="ADAL" clId="{B1C836C9-ECDD-4933-BBAF-9EE971F313BF}" dt="2024-10-09T10:11:58.926" v="745" actId="700"/>
          <ac:spMkLst>
            <pc:docMk/>
            <pc:sldMk cId="701717517" sldId="507"/>
            <ac:spMk id="22" creationId="{3BEFD471-80B0-A847-DC92-3E3CF1C5F74A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23" creationId="{29058678-6698-DFFA-EF9A-D01E11CCC0A4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24" creationId="{3C977622-FB81-4766-9862-9CB685ED816E}"/>
          </ac:spMkLst>
        </pc:spChg>
        <pc:spChg chg="add del">
          <ac:chgData name="Wolfgang Moser" userId="733df6ee-58a4-4fd3-968f-bdef169b40f6" providerId="ADAL" clId="{B1C836C9-ECDD-4933-BBAF-9EE971F313BF}" dt="2024-10-10T10:40:23.674" v="4162" actId="478"/>
          <ac:spMkLst>
            <pc:docMk/>
            <pc:sldMk cId="701717517" sldId="507"/>
            <ac:spMk id="25" creationId="{952AA061-EF7C-680A-6069-00E11907D525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26" creationId="{0517EF3E-2218-1E26-0014-FE0290D6BDFF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27" creationId="{687482E7-AF95-3C8E-A29F-AC02B5D840D7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28" creationId="{377A6139-88B4-BD70-B243-1E203812A220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29" creationId="{9408D943-8BBF-5351-3A79-4614D5C1D3A2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30" creationId="{FFF5A65F-8FBB-C99F-AE8E-CE51E2A6B1A6}"/>
          </ac:spMkLst>
        </pc:spChg>
        <pc:spChg chg="add mod or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31" creationId="{5730E71A-8E57-7C39-E439-C8DC6874F461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32" creationId="{B395E52A-CCDC-D5C8-610F-5AEC25B5B294}"/>
          </ac:spMkLst>
        </pc:spChg>
        <pc:spChg chg="add mod">
          <ac:chgData name="Wolfgang Moser" userId="733df6ee-58a4-4fd3-968f-bdef169b40f6" providerId="ADAL" clId="{B1C836C9-ECDD-4933-BBAF-9EE971F313BF}" dt="2024-10-10T10:52:10.936" v="4341" actId="164"/>
          <ac:spMkLst>
            <pc:docMk/>
            <pc:sldMk cId="701717517" sldId="507"/>
            <ac:spMk id="33" creationId="{4F2B8DEA-17FA-0BBD-BAB5-B9B48CCEB39F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34" creationId="{5F5532C6-9F92-763D-EC43-69D505AE25D8}"/>
          </ac:spMkLst>
        </pc:spChg>
        <pc:spChg chg="add del mod">
          <ac:chgData name="Wolfgang Moser" userId="733df6ee-58a4-4fd3-968f-bdef169b40f6" providerId="ADAL" clId="{B1C836C9-ECDD-4933-BBAF-9EE971F313BF}" dt="2024-10-10T10:50:36.428" v="4328" actId="478"/>
          <ac:spMkLst>
            <pc:docMk/>
            <pc:sldMk cId="701717517" sldId="507"/>
            <ac:spMk id="35" creationId="{E8281EAE-1283-0AF5-CF7D-0392DF9A350F}"/>
          </ac:spMkLst>
        </pc:spChg>
        <pc:spChg chg="add del mod">
          <ac:chgData name="Wolfgang Moser" userId="733df6ee-58a4-4fd3-968f-bdef169b40f6" providerId="ADAL" clId="{B1C836C9-ECDD-4933-BBAF-9EE971F313BF}" dt="2024-10-10T10:45:00.624" v="4225" actId="478"/>
          <ac:spMkLst>
            <pc:docMk/>
            <pc:sldMk cId="701717517" sldId="507"/>
            <ac:spMk id="36" creationId="{F7B95662-4DC5-F630-7259-04AFA42118F7}"/>
          </ac:spMkLst>
        </pc:spChg>
        <pc:spChg chg="add mod">
          <ac:chgData name="Wolfgang Moser" userId="733df6ee-58a4-4fd3-968f-bdef169b40f6" providerId="ADAL" clId="{B1C836C9-ECDD-4933-BBAF-9EE971F313BF}" dt="2024-10-10T10:49:24.910" v="4317" actId="14100"/>
          <ac:spMkLst>
            <pc:docMk/>
            <pc:sldMk cId="701717517" sldId="507"/>
            <ac:spMk id="39" creationId="{EE46F733-0508-4E10-F5CF-41617A81D595}"/>
          </ac:spMkLst>
        </pc:spChg>
        <pc:spChg chg="add mod">
          <ac:chgData name="Wolfgang Moser" userId="733df6ee-58a4-4fd3-968f-bdef169b40f6" providerId="ADAL" clId="{B1C836C9-ECDD-4933-BBAF-9EE971F313BF}" dt="2024-10-10T10:48:21.611" v="4306" actId="164"/>
          <ac:spMkLst>
            <pc:docMk/>
            <pc:sldMk cId="701717517" sldId="507"/>
            <ac:spMk id="40" creationId="{AA37F13F-772E-1D4B-1C92-44389F43BAB3}"/>
          </ac:spMkLst>
        </pc:spChg>
        <pc:spChg chg="add mod">
          <ac:chgData name="Wolfgang Moser" userId="733df6ee-58a4-4fd3-968f-bdef169b40f6" providerId="ADAL" clId="{B1C836C9-ECDD-4933-BBAF-9EE971F313BF}" dt="2024-10-10T10:50:09.391" v="4323"/>
          <ac:spMkLst>
            <pc:docMk/>
            <pc:sldMk cId="701717517" sldId="507"/>
            <ac:spMk id="48" creationId="{0AD46570-70C0-FA3D-2D75-86DBAD1B2389}"/>
          </ac:spMkLst>
        </pc:spChg>
        <pc:spChg chg="add mod">
          <ac:chgData name="Wolfgang Moser" userId="733df6ee-58a4-4fd3-968f-bdef169b40f6" providerId="ADAL" clId="{B1C836C9-ECDD-4933-BBAF-9EE971F313BF}" dt="2024-10-10T10:50:09.391" v="4323"/>
          <ac:spMkLst>
            <pc:docMk/>
            <pc:sldMk cId="701717517" sldId="507"/>
            <ac:spMk id="49" creationId="{087CFFAF-3CEE-9D04-AE7E-80041A07AFAE}"/>
          </ac:spMkLst>
        </pc:spChg>
        <pc:spChg chg="mod">
          <ac:chgData name="Wolfgang Moser" userId="733df6ee-58a4-4fd3-968f-bdef169b40f6" providerId="ADAL" clId="{B1C836C9-ECDD-4933-BBAF-9EE971F313BF}" dt="2024-10-10T10:50:40.456" v="4329"/>
          <ac:spMkLst>
            <pc:docMk/>
            <pc:sldMk cId="701717517" sldId="507"/>
            <ac:spMk id="55" creationId="{EFFE7C70-DC97-BA76-BAD5-302ED15352BF}"/>
          </ac:spMkLst>
        </pc:spChg>
        <pc:spChg chg="mod">
          <ac:chgData name="Wolfgang Moser" userId="733df6ee-58a4-4fd3-968f-bdef169b40f6" providerId="ADAL" clId="{B1C836C9-ECDD-4933-BBAF-9EE971F313BF}" dt="2024-10-10T10:50:40.456" v="4329"/>
          <ac:spMkLst>
            <pc:docMk/>
            <pc:sldMk cId="701717517" sldId="507"/>
            <ac:spMk id="56" creationId="{BCB64DC7-FC85-83B5-006C-F15461BB76A8}"/>
          </ac:spMkLst>
        </pc:spChg>
        <pc:spChg chg="add mod">
          <ac:chgData name="Wolfgang Moser" userId="733df6ee-58a4-4fd3-968f-bdef169b40f6" providerId="ADAL" clId="{B1C836C9-ECDD-4933-BBAF-9EE971F313BF}" dt="2024-10-10T10:52:06.461" v="4340" actId="164"/>
          <ac:spMkLst>
            <pc:docMk/>
            <pc:sldMk cId="701717517" sldId="507"/>
            <ac:spMk id="58" creationId="{8CA4AABF-4F0E-997D-CE72-DA71453BE31E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65" creationId="{5506499D-0F2A-7F9D-70C8-4478DBE271C0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66" creationId="{52B0C834-40FA-F52B-60E8-3E1C3078AFF4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67" creationId="{96313F41-5C8C-8420-D2BD-9A78B43BD1BF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68" creationId="{576E7602-1347-2C9B-EE3F-3E56AC94A7CB}"/>
          </ac:spMkLst>
        </pc:spChg>
        <pc:spChg chg="add del mod">
          <ac:chgData name="Wolfgang Moser" userId="733df6ee-58a4-4fd3-968f-bdef169b40f6" providerId="ADAL" clId="{B1C836C9-ECDD-4933-BBAF-9EE971F313BF}" dt="2024-10-10T10:55:44.367" v="4407" actId="478"/>
          <ac:spMkLst>
            <pc:docMk/>
            <pc:sldMk cId="701717517" sldId="507"/>
            <ac:spMk id="69" creationId="{90C1A52F-7493-CBEA-6DDC-547131F3954C}"/>
          </ac:spMkLst>
        </pc:spChg>
        <pc:spChg chg="add del mod">
          <ac:chgData name="Wolfgang Moser" userId="733df6ee-58a4-4fd3-968f-bdef169b40f6" providerId="ADAL" clId="{B1C836C9-ECDD-4933-BBAF-9EE971F313BF}" dt="2024-10-10T10:55:44.906" v="4408" actId="478"/>
          <ac:spMkLst>
            <pc:docMk/>
            <pc:sldMk cId="701717517" sldId="507"/>
            <ac:spMk id="70" creationId="{A0147BC6-FA9D-C1F6-007D-CE102D9D2084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76" creationId="{09EFFA0D-9BD3-5E76-09B4-43035886368F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77" creationId="{DDDD9985-1E3D-C777-CF30-97F3C37AC317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78" creationId="{EE62DB01-B1B8-42E1-3F8C-EA2A7CAD6A5C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79" creationId="{FA4DD0F6-E29A-39E9-5F2A-593FD7DEE8B0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80" creationId="{B5090443-D87A-C936-940E-7FF4298F2F15}"/>
          </ac:spMkLst>
        </pc:spChg>
        <pc:spChg chg="add del mod">
          <ac:chgData name="Wolfgang Moser" userId="733df6ee-58a4-4fd3-968f-bdef169b40f6" providerId="ADAL" clId="{B1C836C9-ECDD-4933-BBAF-9EE971F313BF}" dt="2024-10-10T10:56:30.707" v="4419" actId="478"/>
          <ac:spMkLst>
            <pc:docMk/>
            <pc:sldMk cId="701717517" sldId="507"/>
            <ac:spMk id="81" creationId="{72A66C6A-DBC7-7D3B-5D36-235BB57739EC}"/>
          </ac:spMkLst>
        </pc:spChg>
        <pc:spChg chg="add del mod">
          <ac:chgData name="Wolfgang Moser" userId="733df6ee-58a4-4fd3-968f-bdef169b40f6" providerId="ADAL" clId="{B1C836C9-ECDD-4933-BBAF-9EE971F313BF}" dt="2024-10-10T10:56:30.707" v="4419" actId="478"/>
          <ac:spMkLst>
            <pc:docMk/>
            <pc:sldMk cId="701717517" sldId="507"/>
            <ac:spMk id="82" creationId="{7DB8783C-7A7C-2A16-2510-32AE394F0825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85" creationId="{FC1AFA35-E333-2A8F-BAE1-F7D26457D069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86" creationId="{9C8921C6-93DF-43CD-99B0-662F26502924}"/>
          </ac:spMkLst>
        </pc:spChg>
        <pc:spChg chg="add mod">
          <ac:chgData name="Wolfgang Moser" userId="733df6ee-58a4-4fd3-968f-bdef169b40f6" providerId="ADAL" clId="{B1C836C9-ECDD-4933-BBAF-9EE971F313BF}" dt="2024-10-10T11:05:47.491" v="4568" actId="164"/>
          <ac:spMkLst>
            <pc:docMk/>
            <pc:sldMk cId="701717517" sldId="507"/>
            <ac:spMk id="87" creationId="{87B3A52A-10CB-8FA1-35FD-707B63F81D66}"/>
          </ac:spMkLst>
        </pc:spChg>
        <pc:grpChg chg="add mod ord">
          <ac:chgData name="Wolfgang Moser" userId="733df6ee-58a4-4fd3-968f-bdef169b40f6" providerId="ADAL" clId="{B1C836C9-ECDD-4933-BBAF-9EE971F313BF}" dt="2024-10-10T10:52:10.936" v="4341" actId="164"/>
          <ac:grpSpMkLst>
            <pc:docMk/>
            <pc:sldMk cId="701717517" sldId="507"/>
            <ac:grpSpMk id="41" creationId="{07D949D4-973A-D268-ECB6-2BFBB012771E}"/>
          </ac:grpSpMkLst>
        </pc:grpChg>
        <pc:grpChg chg="add mod">
          <ac:chgData name="Wolfgang Moser" userId="733df6ee-58a4-4fd3-968f-bdef169b40f6" providerId="ADAL" clId="{B1C836C9-ECDD-4933-BBAF-9EE971F313BF}" dt="2024-10-10T10:52:06.461" v="4340" actId="164"/>
          <ac:grpSpMkLst>
            <pc:docMk/>
            <pc:sldMk cId="701717517" sldId="507"/>
            <ac:grpSpMk id="54" creationId="{60C5C0CE-3B9C-DBD3-71F5-022AD130ED67}"/>
          </ac:grpSpMkLst>
        </pc:grpChg>
        <pc:grpChg chg="add mod">
          <ac:chgData name="Wolfgang Moser" userId="733df6ee-58a4-4fd3-968f-bdef169b40f6" providerId="ADAL" clId="{B1C836C9-ECDD-4933-BBAF-9EE971F313BF}" dt="2024-10-10T11:05:47.491" v="4568" actId="164"/>
          <ac:grpSpMkLst>
            <pc:docMk/>
            <pc:sldMk cId="701717517" sldId="507"/>
            <ac:grpSpMk id="62" creationId="{46A7EB48-D7C8-7738-C228-C21878FDCE4A}"/>
          </ac:grpSpMkLst>
        </pc:grpChg>
        <pc:grpChg chg="add mod">
          <ac:chgData name="Wolfgang Moser" userId="733df6ee-58a4-4fd3-968f-bdef169b40f6" providerId="ADAL" clId="{B1C836C9-ECDD-4933-BBAF-9EE971F313BF}" dt="2024-10-10T11:05:47.491" v="4568" actId="164"/>
          <ac:grpSpMkLst>
            <pc:docMk/>
            <pc:sldMk cId="701717517" sldId="507"/>
            <ac:grpSpMk id="63" creationId="{EE7D6605-D996-4F6A-52F8-C55CAA91605C}"/>
          </ac:grpSpMkLst>
        </pc:grpChg>
        <pc:grpChg chg="add mod">
          <ac:chgData name="Wolfgang Moser" userId="733df6ee-58a4-4fd3-968f-bdef169b40f6" providerId="ADAL" clId="{B1C836C9-ECDD-4933-BBAF-9EE971F313BF}" dt="2024-10-10T11:05:55.840" v="4569" actId="1076"/>
          <ac:grpSpMkLst>
            <pc:docMk/>
            <pc:sldMk cId="701717517" sldId="507"/>
            <ac:grpSpMk id="110" creationId="{FDDC4CB3-8AA8-A238-A13A-DA975E3E3558}"/>
          </ac:grpSpMkLst>
        </pc:grpChg>
        <pc:picChg chg="add del mod">
          <ac:chgData name="Wolfgang Moser" userId="733df6ee-58a4-4fd3-968f-bdef169b40f6" providerId="ADAL" clId="{B1C836C9-ECDD-4933-BBAF-9EE971F313BF}" dt="2024-10-10T11:05:39.889" v="4567" actId="478"/>
          <ac:picMkLst>
            <pc:docMk/>
            <pc:sldMk cId="701717517" sldId="507"/>
            <ac:picMk id="14" creationId="{8673AB77-7988-94EE-9045-973BEAE39C9F}"/>
          </ac:picMkLst>
        </pc:picChg>
        <pc:picChg chg="del">
          <ac:chgData name="Wolfgang Moser" userId="733df6ee-58a4-4fd3-968f-bdef169b40f6" providerId="ADAL" clId="{B1C836C9-ECDD-4933-BBAF-9EE971F313BF}" dt="2024-10-09T09:49:05.285" v="731" actId="478"/>
          <ac:picMkLst>
            <pc:docMk/>
            <pc:sldMk cId="701717517" sldId="507"/>
            <ac:picMk id="15" creationId="{95DAF6CB-C9E3-3D31-46FD-81F663D484A7}"/>
          </ac:picMkLst>
        </pc:picChg>
        <pc:picChg chg="add mod ord">
          <ac:chgData name="Wolfgang Moser" userId="733df6ee-58a4-4fd3-968f-bdef169b40f6" providerId="ADAL" clId="{B1C836C9-ECDD-4933-BBAF-9EE971F313BF}" dt="2024-10-10T10:48:21.611" v="4306" actId="164"/>
          <ac:picMkLst>
            <pc:docMk/>
            <pc:sldMk cId="701717517" sldId="507"/>
            <ac:picMk id="38" creationId="{37DEA24F-7B46-F349-A813-BAE9AC143CEA}"/>
          </ac:picMkLst>
        </pc:picChg>
        <pc:picChg chg="mod">
          <ac:chgData name="Wolfgang Moser" userId="733df6ee-58a4-4fd3-968f-bdef169b40f6" providerId="ADAL" clId="{B1C836C9-ECDD-4933-BBAF-9EE971F313BF}" dt="2024-10-10T10:50:40.456" v="4329"/>
          <ac:picMkLst>
            <pc:docMk/>
            <pc:sldMk cId="701717517" sldId="507"/>
            <ac:picMk id="57" creationId="{948C4C13-60FD-C8D1-F3BD-809692C661C5}"/>
          </ac:picMkLst>
        </pc:picChg>
        <pc:picChg chg="add mod">
          <ac:chgData name="Wolfgang Moser" userId="733df6ee-58a4-4fd3-968f-bdef169b40f6" providerId="ADAL" clId="{B1C836C9-ECDD-4933-BBAF-9EE971F313BF}" dt="2024-10-10T11:05:47.491" v="4568" actId="164"/>
          <ac:picMkLst>
            <pc:docMk/>
            <pc:sldMk cId="701717517" sldId="507"/>
            <ac:picMk id="89" creationId="{25E9502D-5D6A-5D0D-1A69-C513863849D3}"/>
          </ac:picMkLst>
        </pc:picChg>
        <pc:picChg chg="add mod">
          <ac:chgData name="Wolfgang Moser" userId="733df6ee-58a4-4fd3-968f-bdef169b40f6" providerId="ADAL" clId="{B1C836C9-ECDD-4933-BBAF-9EE971F313BF}" dt="2024-10-10T11:05:47.491" v="4568" actId="164"/>
          <ac:picMkLst>
            <pc:docMk/>
            <pc:sldMk cId="701717517" sldId="507"/>
            <ac:picMk id="98" creationId="{268B0A6D-220F-EC8D-D9C2-AE3C0C1C50E3}"/>
          </ac:picMkLst>
        </pc:picChg>
        <pc:picChg chg="add mod">
          <ac:chgData name="Wolfgang Moser" userId="733df6ee-58a4-4fd3-968f-bdef169b40f6" providerId="ADAL" clId="{B1C836C9-ECDD-4933-BBAF-9EE971F313BF}" dt="2024-10-10T11:05:47.491" v="4568" actId="164"/>
          <ac:picMkLst>
            <pc:docMk/>
            <pc:sldMk cId="701717517" sldId="507"/>
            <ac:picMk id="104" creationId="{22287C53-0A2F-31AF-161B-0FB7825C9C86}"/>
          </ac:picMkLst>
        </pc:picChg>
        <pc:cxnChg chg="add mod">
          <ac:chgData name="Wolfgang Moser" userId="733df6ee-58a4-4fd3-968f-bdef169b40f6" providerId="ADAL" clId="{B1C836C9-ECDD-4933-BBAF-9EE971F313BF}" dt="2024-10-10T11:05:47.491" v="4568" actId="164"/>
          <ac:cxnSpMkLst>
            <pc:docMk/>
            <pc:sldMk cId="701717517" sldId="507"/>
            <ac:cxnSpMk id="43" creationId="{C6DF3BCD-C53A-BF7F-D7AB-8CA6A3C0B32E}"/>
          </ac:cxnSpMkLst>
        </pc:cxnChg>
        <pc:cxnChg chg="add mod">
          <ac:chgData name="Wolfgang Moser" userId="733df6ee-58a4-4fd3-968f-bdef169b40f6" providerId="ADAL" clId="{B1C836C9-ECDD-4933-BBAF-9EE971F313BF}" dt="2024-10-10T10:50:09.391" v="4323"/>
          <ac:cxnSpMkLst>
            <pc:docMk/>
            <pc:sldMk cId="701717517" sldId="507"/>
            <ac:cxnSpMk id="50" creationId="{25F81F58-ABA2-8A1B-A473-25CE03E52A0B}"/>
          </ac:cxnSpMkLst>
        </pc:cxnChg>
        <pc:cxnChg chg="add mod">
          <ac:chgData name="Wolfgang Moser" userId="733df6ee-58a4-4fd3-968f-bdef169b40f6" providerId="ADAL" clId="{B1C836C9-ECDD-4933-BBAF-9EE971F313BF}" dt="2024-10-10T11:05:47.491" v="4568" actId="164"/>
          <ac:cxnSpMkLst>
            <pc:docMk/>
            <pc:sldMk cId="701717517" sldId="507"/>
            <ac:cxnSpMk id="51" creationId="{109F6D6B-D116-6F47-2E07-5C93F26CCF6C}"/>
          </ac:cxnSpMkLst>
        </pc:cxnChg>
        <pc:cxnChg chg="add mod">
          <ac:chgData name="Wolfgang Moser" userId="733df6ee-58a4-4fd3-968f-bdef169b40f6" providerId="ADAL" clId="{B1C836C9-ECDD-4933-BBAF-9EE971F313BF}" dt="2024-10-10T11:05:47.491" v="4568" actId="164"/>
          <ac:cxnSpMkLst>
            <pc:docMk/>
            <pc:sldMk cId="701717517" sldId="507"/>
            <ac:cxnSpMk id="59" creationId="{E73E6432-C59A-DB44-D0C6-C191A6A46E94}"/>
          </ac:cxnSpMkLst>
        </pc:cxnChg>
        <pc:cxnChg chg="add del mod">
          <ac:chgData name="Wolfgang Moser" userId="733df6ee-58a4-4fd3-968f-bdef169b40f6" providerId="ADAL" clId="{B1C836C9-ECDD-4933-BBAF-9EE971F313BF}" dt="2024-10-10T10:54:05.916" v="4372" actId="478"/>
          <ac:cxnSpMkLst>
            <pc:docMk/>
            <pc:sldMk cId="701717517" sldId="507"/>
            <ac:cxnSpMk id="71" creationId="{E7D1CCDA-FAD5-66E9-A07C-9945C0DD0F70}"/>
          </ac:cxnSpMkLst>
        </pc:cxnChg>
        <pc:cxnChg chg="add mod">
          <ac:chgData name="Wolfgang Moser" userId="733df6ee-58a4-4fd3-968f-bdef169b40f6" providerId="ADAL" clId="{B1C836C9-ECDD-4933-BBAF-9EE971F313BF}" dt="2024-10-10T11:05:47.491" v="4568" actId="164"/>
          <ac:cxnSpMkLst>
            <pc:docMk/>
            <pc:sldMk cId="701717517" sldId="507"/>
            <ac:cxnSpMk id="73" creationId="{FA029D7C-234C-5197-F5E0-ED0AAF0F7148}"/>
          </ac:cxnSpMkLst>
        </pc:cxnChg>
        <pc:cxnChg chg="add mod">
          <ac:chgData name="Wolfgang Moser" userId="733df6ee-58a4-4fd3-968f-bdef169b40f6" providerId="ADAL" clId="{B1C836C9-ECDD-4933-BBAF-9EE971F313BF}" dt="2024-10-10T11:05:47.491" v="4568" actId="164"/>
          <ac:cxnSpMkLst>
            <pc:docMk/>
            <pc:sldMk cId="701717517" sldId="507"/>
            <ac:cxnSpMk id="84" creationId="{9205FF2B-411E-1D96-BC9A-FB81391FD254}"/>
          </ac:cxnSpMkLst>
        </pc:cxnChg>
        <pc:cxnChg chg="add mod">
          <ac:chgData name="Wolfgang Moser" userId="733df6ee-58a4-4fd3-968f-bdef169b40f6" providerId="ADAL" clId="{B1C836C9-ECDD-4933-BBAF-9EE971F313BF}" dt="2024-10-10T11:05:47.491" v="4568" actId="164"/>
          <ac:cxnSpMkLst>
            <pc:docMk/>
            <pc:sldMk cId="701717517" sldId="507"/>
            <ac:cxnSpMk id="91" creationId="{18F2F566-B42C-8C83-342E-8D425C94B008}"/>
          </ac:cxnSpMkLst>
        </pc:cxnChg>
        <pc:cxnChg chg="add mod">
          <ac:chgData name="Wolfgang Moser" userId="733df6ee-58a4-4fd3-968f-bdef169b40f6" providerId="ADAL" clId="{B1C836C9-ECDD-4933-BBAF-9EE971F313BF}" dt="2024-10-10T11:05:47.491" v="4568" actId="164"/>
          <ac:cxnSpMkLst>
            <pc:docMk/>
            <pc:sldMk cId="701717517" sldId="507"/>
            <ac:cxnSpMk id="99" creationId="{99BB5C12-14EA-C604-D3A6-A65D9A58FD73}"/>
          </ac:cxnSpMkLst>
        </pc:cxnChg>
        <pc:cxnChg chg="add mod">
          <ac:chgData name="Wolfgang Moser" userId="733df6ee-58a4-4fd3-968f-bdef169b40f6" providerId="ADAL" clId="{B1C836C9-ECDD-4933-BBAF-9EE971F313BF}" dt="2024-10-10T11:05:47.491" v="4568" actId="164"/>
          <ac:cxnSpMkLst>
            <pc:docMk/>
            <pc:sldMk cId="701717517" sldId="507"/>
            <ac:cxnSpMk id="105" creationId="{252D5C13-DE1B-581A-8ACC-E67EFF760928}"/>
          </ac:cxnSpMkLst>
        </pc:cxnChg>
      </pc:sldChg>
      <pc:sldChg chg="addSp delSp modSp add mod modNotesTx">
        <pc:chgData name="Wolfgang Moser" userId="733df6ee-58a4-4fd3-968f-bdef169b40f6" providerId="ADAL" clId="{B1C836C9-ECDD-4933-BBAF-9EE971F313BF}" dt="2024-10-14T13:56:17.197" v="4827" actId="1035"/>
        <pc:sldMkLst>
          <pc:docMk/>
          <pc:sldMk cId="1713683153" sldId="508"/>
        </pc:sldMkLst>
        <pc:spChg chg="mod">
          <ac:chgData name="Wolfgang Moser" userId="733df6ee-58a4-4fd3-968f-bdef169b40f6" providerId="ADAL" clId="{B1C836C9-ECDD-4933-BBAF-9EE971F313BF}" dt="2024-10-09T10:39:32.343" v="1129" actId="20577"/>
          <ac:spMkLst>
            <pc:docMk/>
            <pc:sldMk cId="1713683153" sldId="508"/>
            <ac:spMk id="20" creationId="{6BDBD1DC-B644-16E6-B7A9-475F7B2C589D}"/>
          </ac:spMkLst>
        </pc:spChg>
        <pc:spChg chg="mod">
          <ac:chgData name="Wolfgang Moser" userId="733df6ee-58a4-4fd3-968f-bdef169b40f6" providerId="ADAL" clId="{B1C836C9-ECDD-4933-BBAF-9EE971F313BF}" dt="2024-10-09T10:40:27.279" v="1130"/>
          <ac:spMkLst>
            <pc:docMk/>
            <pc:sldMk cId="1713683153" sldId="508"/>
            <ac:spMk id="24" creationId="{F5FA5EED-B1F6-CEA4-544A-CA0F8735535D}"/>
          </ac:spMkLst>
        </pc:spChg>
        <pc:spChg chg="mod">
          <ac:chgData name="Wolfgang Moser" userId="733df6ee-58a4-4fd3-968f-bdef169b40f6" providerId="ADAL" clId="{B1C836C9-ECDD-4933-BBAF-9EE971F313BF}" dt="2024-10-09T10:40:27.279" v="1130"/>
          <ac:spMkLst>
            <pc:docMk/>
            <pc:sldMk cId="1713683153" sldId="508"/>
            <ac:spMk id="25" creationId="{ADAEE2E7-B273-F888-34AF-8D5E941208CD}"/>
          </ac:spMkLst>
        </pc:spChg>
        <pc:spChg chg="mod">
          <ac:chgData name="Wolfgang Moser" userId="733df6ee-58a4-4fd3-968f-bdef169b40f6" providerId="ADAL" clId="{B1C836C9-ECDD-4933-BBAF-9EE971F313BF}" dt="2024-10-09T10:40:27.279" v="1130"/>
          <ac:spMkLst>
            <pc:docMk/>
            <pc:sldMk cId="1713683153" sldId="508"/>
            <ac:spMk id="26" creationId="{42B1B4DD-2BE1-04A2-B319-E7843F6E78BB}"/>
          </ac:spMkLst>
        </pc:spChg>
        <pc:spChg chg="mod">
          <ac:chgData name="Wolfgang Moser" userId="733df6ee-58a4-4fd3-968f-bdef169b40f6" providerId="ADAL" clId="{B1C836C9-ECDD-4933-BBAF-9EE971F313BF}" dt="2024-10-09T10:40:27.279" v="1130"/>
          <ac:spMkLst>
            <pc:docMk/>
            <pc:sldMk cId="1713683153" sldId="508"/>
            <ac:spMk id="27" creationId="{2BF998E3-5B06-3CDD-E1D0-EDE967E5BEDF}"/>
          </ac:spMkLst>
        </pc:spChg>
        <pc:spChg chg="mod">
          <ac:chgData name="Wolfgang Moser" userId="733df6ee-58a4-4fd3-968f-bdef169b40f6" providerId="ADAL" clId="{B1C836C9-ECDD-4933-BBAF-9EE971F313BF}" dt="2024-10-09T10:40:27.279" v="1130"/>
          <ac:spMkLst>
            <pc:docMk/>
            <pc:sldMk cId="1713683153" sldId="508"/>
            <ac:spMk id="28" creationId="{38AC81CF-9F21-6ACC-F655-376DD02057A7}"/>
          </ac:spMkLst>
        </pc:spChg>
        <pc:spChg chg="mod">
          <ac:chgData name="Wolfgang Moser" userId="733df6ee-58a4-4fd3-968f-bdef169b40f6" providerId="ADAL" clId="{B1C836C9-ECDD-4933-BBAF-9EE971F313BF}" dt="2024-10-09T10:40:27.279" v="1130"/>
          <ac:spMkLst>
            <pc:docMk/>
            <pc:sldMk cId="1713683153" sldId="508"/>
            <ac:spMk id="29" creationId="{B84978EC-2EEB-93B5-8CD7-5D77BF4CC620}"/>
          </ac:spMkLst>
        </pc:spChg>
        <pc:spChg chg="mod">
          <ac:chgData name="Wolfgang Moser" userId="733df6ee-58a4-4fd3-968f-bdef169b40f6" providerId="ADAL" clId="{B1C836C9-ECDD-4933-BBAF-9EE971F313BF}" dt="2024-10-09T10:40:27.279" v="1130"/>
          <ac:spMkLst>
            <pc:docMk/>
            <pc:sldMk cId="1713683153" sldId="508"/>
            <ac:spMk id="30" creationId="{2C930BDC-5838-A376-64C8-9BD84F2C7DFC}"/>
          </ac:spMkLst>
        </pc:spChg>
        <pc:spChg chg="add mod">
          <ac:chgData name="Wolfgang Moser" userId="733df6ee-58a4-4fd3-968f-bdef169b40f6" providerId="ADAL" clId="{B1C836C9-ECDD-4933-BBAF-9EE971F313BF}" dt="2024-10-09T10:45:39.566" v="1205" actId="164"/>
          <ac:spMkLst>
            <pc:docMk/>
            <pc:sldMk cId="1713683153" sldId="508"/>
            <ac:spMk id="31" creationId="{4766A517-41DE-BA0F-C874-7D3C7105A1BE}"/>
          </ac:spMkLst>
        </pc:spChg>
        <pc:spChg chg="add mod">
          <ac:chgData name="Wolfgang Moser" userId="733df6ee-58a4-4fd3-968f-bdef169b40f6" providerId="ADAL" clId="{B1C836C9-ECDD-4933-BBAF-9EE971F313BF}" dt="2024-10-09T10:45:39.566" v="1205" actId="164"/>
          <ac:spMkLst>
            <pc:docMk/>
            <pc:sldMk cId="1713683153" sldId="508"/>
            <ac:spMk id="32" creationId="{88C9C3C9-8336-F132-A8B8-2006B63FEEEC}"/>
          </ac:spMkLst>
        </pc:spChg>
        <pc:spChg chg="add mod">
          <ac:chgData name="Wolfgang Moser" userId="733df6ee-58a4-4fd3-968f-bdef169b40f6" providerId="ADAL" clId="{B1C836C9-ECDD-4933-BBAF-9EE971F313BF}" dt="2024-10-09T10:45:39.566" v="1205" actId="164"/>
          <ac:spMkLst>
            <pc:docMk/>
            <pc:sldMk cId="1713683153" sldId="508"/>
            <ac:spMk id="33" creationId="{6CAE93F6-EEB6-8C6F-AA76-6EA2DAF2B0FF}"/>
          </ac:spMkLst>
        </pc:spChg>
        <pc:grpChg chg="add mod">
          <ac:chgData name="Wolfgang Moser" userId="733df6ee-58a4-4fd3-968f-bdef169b40f6" providerId="ADAL" clId="{B1C836C9-ECDD-4933-BBAF-9EE971F313BF}" dt="2024-10-09T10:40:27.279" v="1130"/>
          <ac:grpSpMkLst>
            <pc:docMk/>
            <pc:sldMk cId="1713683153" sldId="508"/>
            <ac:grpSpMk id="19" creationId="{4D7E4BAD-D3F3-F0CB-B260-E8AEF0BE07C9}"/>
          </ac:grpSpMkLst>
        </pc:grpChg>
        <pc:grpChg chg="add mod">
          <ac:chgData name="Wolfgang Moser" userId="733df6ee-58a4-4fd3-968f-bdef169b40f6" providerId="ADAL" clId="{B1C836C9-ECDD-4933-BBAF-9EE971F313BF}" dt="2024-10-09T10:45:39.566" v="1205" actId="164"/>
          <ac:grpSpMkLst>
            <pc:docMk/>
            <pc:sldMk cId="1713683153" sldId="508"/>
            <ac:grpSpMk id="34" creationId="{0BC6FB20-1CFE-8A8F-E899-94B2B3844A81}"/>
          </ac:grpSpMkLst>
        </pc:grpChg>
        <pc:picChg chg="add del mod">
          <ac:chgData name="Wolfgang Moser" userId="733df6ee-58a4-4fd3-968f-bdef169b40f6" providerId="ADAL" clId="{B1C836C9-ECDD-4933-BBAF-9EE971F313BF}" dt="2024-10-09T10:34:26.730" v="862" actId="478"/>
          <ac:picMkLst>
            <pc:docMk/>
            <pc:sldMk cId="1713683153" sldId="508"/>
            <ac:picMk id="5" creationId="{3874997F-42A1-BF44-971F-7F3715DC4443}"/>
          </ac:picMkLst>
        </pc:picChg>
        <pc:picChg chg="add del mod">
          <ac:chgData name="Wolfgang Moser" userId="733df6ee-58a4-4fd3-968f-bdef169b40f6" providerId="ADAL" clId="{B1C836C9-ECDD-4933-BBAF-9EE971F313BF}" dt="2024-10-09T10:35:17.928" v="868" actId="478"/>
          <ac:picMkLst>
            <pc:docMk/>
            <pc:sldMk cId="1713683153" sldId="508"/>
            <ac:picMk id="11" creationId="{2591165A-DFB1-45A7-AD94-6980ADD1C474}"/>
          </ac:picMkLst>
        </pc:picChg>
        <pc:picChg chg="add del mod">
          <ac:chgData name="Wolfgang Moser" userId="733df6ee-58a4-4fd3-968f-bdef169b40f6" providerId="ADAL" clId="{B1C836C9-ECDD-4933-BBAF-9EE971F313BF}" dt="2024-10-09T10:35:40.668" v="872" actId="478"/>
          <ac:picMkLst>
            <pc:docMk/>
            <pc:sldMk cId="1713683153" sldId="508"/>
            <ac:picMk id="13" creationId="{207EF823-7D4A-F65A-C5BE-A1219AFD4810}"/>
          </ac:picMkLst>
        </pc:picChg>
        <pc:picChg chg="del">
          <ac:chgData name="Wolfgang Moser" userId="733df6ee-58a4-4fd3-968f-bdef169b40f6" providerId="ADAL" clId="{B1C836C9-ECDD-4933-BBAF-9EE971F313BF}" dt="2024-10-09T10:24:47.374" v="765" actId="478"/>
          <ac:picMkLst>
            <pc:docMk/>
            <pc:sldMk cId="1713683153" sldId="508"/>
            <ac:picMk id="14" creationId="{8673AB77-7988-94EE-9045-973BEAE39C9F}"/>
          </ac:picMkLst>
        </pc:picChg>
        <pc:picChg chg="add mod">
          <ac:chgData name="Wolfgang Moser" userId="733df6ee-58a4-4fd3-968f-bdef169b40f6" providerId="ADAL" clId="{B1C836C9-ECDD-4933-BBAF-9EE971F313BF}" dt="2024-10-09T10:45:39.566" v="1205" actId="164"/>
          <ac:picMkLst>
            <pc:docMk/>
            <pc:sldMk cId="1713683153" sldId="508"/>
            <ac:picMk id="16" creationId="{6F7380A4-46DD-8BB7-791D-FE2FD8FB1003}"/>
          </ac:picMkLst>
        </pc:picChg>
        <pc:picChg chg="add mod">
          <ac:chgData name="Wolfgang Moser" userId="733df6ee-58a4-4fd3-968f-bdef169b40f6" providerId="ADAL" clId="{B1C836C9-ECDD-4933-BBAF-9EE971F313BF}" dt="2024-10-14T13:56:17.197" v="4827" actId="1035"/>
          <ac:picMkLst>
            <pc:docMk/>
            <pc:sldMk cId="1713683153" sldId="508"/>
            <ac:picMk id="18" creationId="{E3EA590E-C7BD-DD0B-9A9B-D3C9996900C6}"/>
          </ac:picMkLst>
        </pc:picChg>
        <pc:picChg chg="mod">
          <ac:chgData name="Wolfgang Moser" userId="733df6ee-58a4-4fd3-968f-bdef169b40f6" providerId="ADAL" clId="{B1C836C9-ECDD-4933-BBAF-9EE971F313BF}" dt="2024-10-09T10:40:27.279" v="1130"/>
          <ac:picMkLst>
            <pc:docMk/>
            <pc:sldMk cId="1713683153" sldId="508"/>
            <ac:picMk id="23" creationId="{5369B85C-00EE-0208-03A2-74D81749A155}"/>
          </ac:picMkLst>
        </pc:picChg>
      </pc:sldChg>
      <pc:sldChg chg="addSp delSp modSp add mod">
        <pc:chgData name="Wolfgang Moser" userId="733df6ee-58a4-4fd3-968f-bdef169b40f6" providerId="ADAL" clId="{B1C836C9-ECDD-4933-BBAF-9EE971F313BF}" dt="2024-10-09T10:49:31.151" v="1220" actId="1076"/>
        <pc:sldMkLst>
          <pc:docMk/>
          <pc:sldMk cId="543976529" sldId="509"/>
        </pc:sldMkLst>
        <pc:spChg chg="add del mod">
          <ac:chgData name="Wolfgang Moser" userId="733df6ee-58a4-4fd3-968f-bdef169b40f6" providerId="ADAL" clId="{B1C836C9-ECDD-4933-BBAF-9EE971F313BF}" dt="2024-10-09T10:48:22.166" v="1208" actId="478"/>
          <ac:spMkLst>
            <pc:docMk/>
            <pc:sldMk cId="543976529" sldId="509"/>
            <ac:spMk id="5" creationId="{972A8BC4-BF54-8143-D3CC-25FFD2F9F82F}"/>
          </ac:spMkLst>
        </pc:spChg>
        <pc:spChg chg="del">
          <ac:chgData name="Wolfgang Moser" userId="733df6ee-58a4-4fd3-968f-bdef169b40f6" providerId="ADAL" clId="{B1C836C9-ECDD-4933-BBAF-9EE971F313BF}" dt="2024-10-09T10:48:20.250" v="1207" actId="478"/>
          <ac:spMkLst>
            <pc:docMk/>
            <pc:sldMk cId="543976529" sldId="509"/>
            <ac:spMk id="20" creationId="{6BDBD1DC-B644-16E6-B7A9-475F7B2C589D}"/>
          </ac:spMkLst>
        </pc:spChg>
        <pc:picChg chg="add mod">
          <ac:chgData name="Wolfgang Moser" userId="733df6ee-58a4-4fd3-968f-bdef169b40f6" providerId="ADAL" clId="{B1C836C9-ECDD-4933-BBAF-9EE971F313BF}" dt="2024-10-09T10:49:31.151" v="1220" actId="1076"/>
          <ac:picMkLst>
            <pc:docMk/>
            <pc:sldMk cId="543976529" sldId="509"/>
            <ac:picMk id="11" creationId="{259067E7-C3B5-32F3-66D6-845EF6D84243}"/>
          </ac:picMkLst>
        </pc:picChg>
        <pc:picChg chg="del">
          <ac:chgData name="Wolfgang Moser" userId="733df6ee-58a4-4fd3-968f-bdef169b40f6" providerId="ADAL" clId="{B1C836C9-ECDD-4933-BBAF-9EE971F313BF}" dt="2024-10-09T10:48:22.840" v="1209" actId="478"/>
          <ac:picMkLst>
            <pc:docMk/>
            <pc:sldMk cId="543976529" sldId="509"/>
            <ac:picMk id="14" creationId="{8673AB77-7988-94EE-9045-973BEAE39C9F}"/>
          </ac:picMkLst>
        </pc:picChg>
      </pc:sldChg>
      <pc:sldChg chg="addSp delSp modSp add mod">
        <pc:chgData name="Wolfgang Moser" userId="733df6ee-58a4-4fd3-968f-bdef169b40f6" providerId="ADAL" clId="{B1C836C9-ECDD-4933-BBAF-9EE971F313BF}" dt="2024-10-09T11:04:25.296" v="1514" actId="1076"/>
        <pc:sldMkLst>
          <pc:docMk/>
          <pc:sldMk cId="3969573507" sldId="510"/>
        </pc:sldMkLst>
        <pc:spChg chg="mod">
          <ac:chgData name="Wolfgang Moser" userId="733df6ee-58a4-4fd3-968f-bdef169b40f6" providerId="ADAL" clId="{B1C836C9-ECDD-4933-BBAF-9EE971F313BF}" dt="2024-10-09T11:04:21.445" v="1513" actId="20577"/>
          <ac:spMkLst>
            <pc:docMk/>
            <pc:sldMk cId="3969573507" sldId="510"/>
            <ac:spMk id="20" creationId="{6BDBD1DC-B644-16E6-B7A9-475F7B2C589D}"/>
          </ac:spMkLst>
        </pc:spChg>
        <pc:picChg chg="add mod">
          <ac:chgData name="Wolfgang Moser" userId="733df6ee-58a4-4fd3-968f-bdef169b40f6" providerId="ADAL" clId="{B1C836C9-ECDD-4933-BBAF-9EE971F313BF}" dt="2024-10-09T11:04:25.296" v="1514" actId="1076"/>
          <ac:picMkLst>
            <pc:docMk/>
            <pc:sldMk cId="3969573507" sldId="510"/>
            <ac:picMk id="5" creationId="{9EB1489D-1A73-73E4-8FEF-BA4914257757}"/>
          </ac:picMkLst>
        </pc:picChg>
        <pc:picChg chg="add del mod">
          <ac:chgData name="Wolfgang Moser" userId="733df6ee-58a4-4fd3-968f-bdef169b40f6" providerId="ADAL" clId="{B1C836C9-ECDD-4933-BBAF-9EE971F313BF}" dt="2024-10-09T11:01:37.308" v="1327" actId="478"/>
          <ac:picMkLst>
            <pc:docMk/>
            <pc:sldMk cId="3969573507" sldId="510"/>
            <ac:picMk id="11" creationId="{C8D931C3-2F86-D2C2-CA35-96341A961F24}"/>
          </ac:picMkLst>
        </pc:picChg>
        <pc:picChg chg="del">
          <ac:chgData name="Wolfgang Moser" userId="733df6ee-58a4-4fd3-968f-bdef169b40f6" providerId="ADAL" clId="{B1C836C9-ECDD-4933-BBAF-9EE971F313BF}" dt="2024-10-09T10:52:04.052" v="1314" actId="478"/>
          <ac:picMkLst>
            <pc:docMk/>
            <pc:sldMk cId="3969573507" sldId="510"/>
            <ac:picMk id="14" creationId="{8673AB77-7988-94EE-9045-973BEAE39C9F}"/>
          </ac:picMkLst>
        </pc:picChg>
      </pc:sldChg>
      <pc:sldChg chg="addSp delSp modSp add mod">
        <pc:chgData name="Wolfgang Moser" userId="733df6ee-58a4-4fd3-968f-bdef169b40f6" providerId="ADAL" clId="{B1C836C9-ECDD-4933-BBAF-9EE971F313BF}" dt="2024-10-09T11:17:50.234" v="1948" actId="1076"/>
        <pc:sldMkLst>
          <pc:docMk/>
          <pc:sldMk cId="844847111" sldId="511"/>
        </pc:sldMkLst>
        <pc:spChg chg="mod">
          <ac:chgData name="Wolfgang Moser" userId="733df6ee-58a4-4fd3-968f-bdef169b40f6" providerId="ADAL" clId="{B1C836C9-ECDD-4933-BBAF-9EE971F313BF}" dt="2024-10-09T11:08:59.105" v="1688" actId="20577"/>
          <ac:spMkLst>
            <pc:docMk/>
            <pc:sldMk cId="844847111" sldId="511"/>
            <ac:spMk id="20" creationId="{6BDBD1DC-B644-16E6-B7A9-475F7B2C589D}"/>
          </ac:spMkLst>
        </pc:spChg>
        <pc:picChg chg="del">
          <ac:chgData name="Wolfgang Moser" userId="733df6ee-58a4-4fd3-968f-bdef169b40f6" providerId="ADAL" clId="{B1C836C9-ECDD-4933-BBAF-9EE971F313BF}" dt="2024-10-09T11:01:35.119" v="1326" actId="478"/>
          <ac:picMkLst>
            <pc:docMk/>
            <pc:sldMk cId="844847111" sldId="511"/>
            <ac:picMk id="5" creationId="{9EB1489D-1A73-73E4-8FEF-BA4914257757}"/>
          </ac:picMkLst>
        </pc:picChg>
        <pc:picChg chg="add mod">
          <ac:chgData name="Wolfgang Moser" userId="733df6ee-58a4-4fd3-968f-bdef169b40f6" providerId="ADAL" clId="{B1C836C9-ECDD-4933-BBAF-9EE971F313BF}" dt="2024-10-09T11:14:53.218" v="1761" actId="1076"/>
          <ac:picMkLst>
            <pc:docMk/>
            <pc:sldMk cId="844847111" sldId="511"/>
            <ac:picMk id="10" creationId="{4CF70896-101A-115C-1AAC-E323BC9204C2}"/>
          </ac:picMkLst>
        </pc:picChg>
        <pc:picChg chg="mod modCrop">
          <ac:chgData name="Wolfgang Moser" userId="733df6ee-58a4-4fd3-968f-bdef169b40f6" providerId="ADAL" clId="{B1C836C9-ECDD-4933-BBAF-9EE971F313BF}" dt="2024-10-09T11:17:50.234" v="1948" actId="1076"/>
          <ac:picMkLst>
            <pc:docMk/>
            <pc:sldMk cId="844847111" sldId="511"/>
            <ac:picMk id="11" creationId="{C8D931C3-2F86-D2C2-CA35-96341A961F24}"/>
          </ac:picMkLst>
        </pc:picChg>
      </pc:sldChg>
      <pc:sldChg chg="addSp delSp modSp add mod ord modClrScheme chgLayout">
        <pc:chgData name="Wolfgang Moser" userId="733df6ee-58a4-4fd3-968f-bdef169b40f6" providerId="ADAL" clId="{B1C836C9-ECDD-4933-BBAF-9EE971F313BF}" dt="2024-10-10T08:10:02.294" v="2768" actId="700"/>
        <pc:sldMkLst>
          <pc:docMk/>
          <pc:sldMk cId="3477872335" sldId="512"/>
        </pc:sldMkLst>
        <pc:spChg chg="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2" creationId="{9A855867-630C-30C2-C217-861779BEDB36}"/>
          </ac:spMkLst>
        </pc:spChg>
        <pc:spChg chg="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6" creationId="{2472759E-297A-9BDF-158A-A0D15A8E8BB0}"/>
          </ac:spMkLst>
        </pc:spChg>
        <pc:spChg chg="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7" creationId="{CD5EE9F3-41F7-21B6-DA33-99990CD5B944}"/>
          </ac:spMkLst>
        </pc:spChg>
        <pc:spChg chg="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8" creationId="{F928C4B1-B8F6-4565-66AE-67CD5AA4CD8C}"/>
          </ac:spMkLst>
        </pc:spChg>
        <pc:spChg chg="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9" creationId="{6E80A326-7DDE-6799-C0D1-1908FBB9B7BC}"/>
          </ac:spMkLst>
        </pc:spChg>
        <pc:spChg chg="add del 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15" creationId="{3A1CA960-8C49-F7DF-CA71-D31B8A083E30}"/>
          </ac:spMkLst>
        </pc:spChg>
        <pc:spChg chg="add del 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16" creationId="{D48458CB-9773-357A-F9E5-A9A0BCF317F2}"/>
          </ac:spMkLst>
        </pc:spChg>
        <pc:spChg chg="add del 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17" creationId="{FC86C82B-A5A7-3D96-2D3D-AE09E8ABA8A2}"/>
          </ac:spMkLst>
        </pc:spChg>
        <pc:spChg chg="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20" creationId="{6BDBD1DC-B644-16E6-B7A9-475F7B2C589D}"/>
          </ac:spMkLst>
        </pc:spChg>
        <pc:spChg chg="add del 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21" creationId="{97E0AA41-2C85-583F-5417-7A000C91B61C}"/>
          </ac:spMkLst>
        </pc:spChg>
        <pc:spChg chg="add del mod ord">
          <ac:chgData name="Wolfgang Moser" userId="733df6ee-58a4-4fd3-968f-bdef169b40f6" providerId="ADAL" clId="{B1C836C9-ECDD-4933-BBAF-9EE971F313BF}" dt="2024-10-10T08:10:02.294" v="2768" actId="700"/>
          <ac:spMkLst>
            <pc:docMk/>
            <pc:sldMk cId="3477872335" sldId="512"/>
            <ac:spMk id="22" creationId="{3BEFD471-80B0-A847-DC92-3E3CF1C5F74A}"/>
          </ac:spMkLst>
        </pc:spChg>
        <pc:picChg chg="del">
          <ac:chgData name="Wolfgang Moser" userId="733df6ee-58a4-4fd3-968f-bdef169b40f6" providerId="ADAL" clId="{B1C836C9-ECDD-4933-BBAF-9EE971F313BF}" dt="2024-10-09T11:10:27.260" v="1692" actId="478"/>
          <ac:picMkLst>
            <pc:docMk/>
            <pc:sldMk cId="3477872335" sldId="512"/>
            <ac:picMk id="5" creationId="{9EB1489D-1A73-73E4-8FEF-BA4914257757}"/>
          </ac:picMkLst>
        </pc:picChg>
        <pc:picChg chg="add del mod">
          <ac:chgData name="Wolfgang Moser" userId="733df6ee-58a4-4fd3-968f-bdef169b40f6" providerId="ADAL" clId="{B1C836C9-ECDD-4933-BBAF-9EE971F313BF}" dt="2024-10-09T11:13:57.504" v="1751" actId="478"/>
          <ac:picMkLst>
            <pc:docMk/>
            <pc:sldMk cId="3477872335" sldId="512"/>
            <ac:picMk id="10" creationId="{92B93C18-ADAC-1CB1-2D97-7AF8F294F61C}"/>
          </ac:picMkLst>
        </pc:picChg>
        <pc:picChg chg="add mod">
          <ac:chgData name="Wolfgang Moser" userId="733df6ee-58a4-4fd3-968f-bdef169b40f6" providerId="ADAL" clId="{B1C836C9-ECDD-4933-BBAF-9EE971F313BF}" dt="2024-10-09T11:15:25.363" v="1768" actId="1076"/>
          <ac:picMkLst>
            <pc:docMk/>
            <pc:sldMk cId="3477872335" sldId="512"/>
            <ac:picMk id="12" creationId="{2206084B-0A60-6985-6148-3BA0EB603F9C}"/>
          </ac:picMkLst>
        </pc:picChg>
        <pc:picChg chg="add mod">
          <ac:chgData name="Wolfgang Moser" userId="733df6ee-58a4-4fd3-968f-bdef169b40f6" providerId="ADAL" clId="{B1C836C9-ECDD-4933-BBAF-9EE971F313BF}" dt="2024-10-09T11:17:40.335" v="1946" actId="1076"/>
          <ac:picMkLst>
            <pc:docMk/>
            <pc:sldMk cId="3477872335" sldId="512"/>
            <ac:picMk id="14" creationId="{9B179162-2888-72CD-D7C7-963945172D45}"/>
          </ac:picMkLst>
        </pc:picChg>
      </pc:sldChg>
      <pc:sldChg chg="addSp modSp add mod">
        <pc:chgData name="Wolfgang Moser" userId="733df6ee-58a4-4fd3-968f-bdef169b40f6" providerId="ADAL" clId="{B1C836C9-ECDD-4933-BBAF-9EE971F313BF}" dt="2024-10-10T07:40:58.154" v="2751"/>
        <pc:sldMkLst>
          <pc:docMk/>
          <pc:sldMk cId="958998846" sldId="513"/>
        </pc:sldMkLst>
        <pc:spChg chg="add">
          <ac:chgData name="Wolfgang Moser" userId="733df6ee-58a4-4fd3-968f-bdef169b40f6" providerId="ADAL" clId="{B1C836C9-ECDD-4933-BBAF-9EE971F313BF}" dt="2024-10-09T13:10:49.945" v="1977"/>
          <ac:spMkLst>
            <pc:docMk/>
            <pc:sldMk cId="958998846" sldId="513"/>
            <ac:spMk id="2" creationId="{362FD77F-304D-9BCF-4B01-EE1748F0CC43}"/>
          </ac:spMkLst>
        </pc:spChg>
        <pc:spChg chg="mod">
          <ac:chgData name="Wolfgang Moser" userId="733df6ee-58a4-4fd3-968f-bdef169b40f6" providerId="ADAL" clId="{B1C836C9-ECDD-4933-BBAF-9EE971F313BF}" dt="2024-10-09T11:19:51.219" v="1951" actId="20577"/>
          <ac:spMkLst>
            <pc:docMk/>
            <pc:sldMk cId="958998846" sldId="513"/>
            <ac:spMk id="17" creationId="{AD3D6C00-6D6B-DBD7-3FA3-A4C5EBFAA7A7}"/>
          </ac:spMkLst>
        </pc:spChg>
        <pc:spChg chg="mod">
          <ac:chgData name="Wolfgang Moser" userId="733df6ee-58a4-4fd3-968f-bdef169b40f6" providerId="ADAL" clId="{B1C836C9-ECDD-4933-BBAF-9EE971F313BF}" dt="2024-10-09T13:11:19.689" v="1997" actId="14100"/>
          <ac:spMkLst>
            <pc:docMk/>
            <pc:sldMk cId="958998846" sldId="513"/>
            <ac:spMk id="18" creationId="{9CC4F145-4BBD-311A-665F-07CFD22642C9}"/>
          </ac:spMkLst>
        </pc:spChg>
        <pc:spChg chg="mod">
          <ac:chgData name="Wolfgang Moser" userId="733df6ee-58a4-4fd3-968f-bdef169b40f6" providerId="ADAL" clId="{B1C836C9-ECDD-4933-BBAF-9EE971F313BF}" dt="2024-10-10T07:40:58.154" v="2751"/>
          <ac:spMkLst>
            <pc:docMk/>
            <pc:sldMk cId="958998846" sldId="513"/>
            <ac:spMk id="19" creationId="{30930DF2-410C-F8A5-C371-8762B1F7DA02}"/>
          </ac:spMkLst>
        </pc:spChg>
      </pc:sldChg>
      <pc:sldChg chg="modSp add mod ord">
        <pc:chgData name="Wolfgang Moser" userId="733df6ee-58a4-4fd3-968f-bdef169b40f6" providerId="ADAL" clId="{B1C836C9-ECDD-4933-BBAF-9EE971F313BF}" dt="2024-10-10T07:45:56.224" v="2766" actId="20577"/>
        <pc:sldMkLst>
          <pc:docMk/>
          <pc:sldMk cId="1884208126" sldId="514"/>
        </pc:sldMkLst>
        <pc:spChg chg="mod">
          <ac:chgData name="Wolfgang Moser" userId="733df6ee-58a4-4fd3-968f-bdef169b40f6" providerId="ADAL" clId="{B1C836C9-ECDD-4933-BBAF-9EE971F313BF}" dt="2024-10-10T07:45:56.224" v="2766" actId="20577"/>
          <ac:spMkLst>
            <pc:docMk/>
            <pc:sldMk cId="1884208126" sldId="514"/>
            <ac:spMk id="2" creationId="{F4EE817F-506E-1BF6-FAD7-446D83966709}"/>
          </ac:spMkLst>
        </pc:spChg>
      </pc:sldChg>
      <pc:sldChg chg="addSp modSp new mod">
        <pc:chgData name="Wolfgang Moser" userId="733df6ee-58a4-4fd3-968f-bdef169b40f6" providerId="ADAL" clId="{B1C836C9-ECDD-4933-BBAF-9EE971F313BF}" dt="2024-10-10T11:08:02.494" v="4572" actId="14100"/>
        <pc:sldMkLst>
          <pc:docMk/>
          <pc:sldMk cId="2121455153" sldId="515"/>
        </pc:sldMkLst>
        <pc:spChg chg="mod">
          <ac:chgData name="Wolfgang Moser" userId="733df6ee-58a4-4fd3-968f-bdef169b40f6" providerId="ADAL" clId="{B1C836C9-ECDD-4933-BBAF-9EE971F313BF}" dt="2024-10-10T08:10:44.695" v="2806" actId="20577"/>
          <ac:spMkLst>
            <pc:docMk/>
            <pc:sldMk cId="2121455153" sldId="515"/>
            <ac:spMk id="2" creationId="{17A390D2-F2C8-C9FB-F97D-5C5E7E9953AF}"/>
          </ac:spMkLst>
        </pc:spChg>
        <pc:spChg chg="mod">
          <ac:chgData name="Wolfgang Moser" userId="733df6ee-58a4-4fd3-968f-bdef169b40f6" providerId="ADAL" clId="{B1C836C9-ECDD-4933-BBAF-9EE971F313BF}" dt="2024-10-10T08:19:08.453" v="3015" actId="20577"/>
          <ac:spMkLst>
            <pc:docMk/>
            <pc:sldMk cId="2121455153" sldId="515"/>
            <ac:spMk id="5" creationId="{E5706E89-F76C-7DB2-E34B-3D5F422F2A80}"/>
          </ac:spMkLst>
        </pc:spChg>
        <pc:spChg chg="mod">
          <ac:chgData name="Wolfgang Moser" userId="733df6ee-58a4-4fd3-968f-bdef169b40f6" providerId="ADAL" clId="{B1C836C9-ECDD-4933-BBAF-9EE971F313BF}" dt="2024-10-10T08:19:53.570" v="3020"/>
          <ac:spMkLst>
            <pc:docMk/>
            <pc:sldMk cId="2121455153" sldId="515"/>
            <ac:spMk id="6" creationId="{EDCCDA20-95B1-5C50-4726-969A967B8F4B}"/>
          </ac:spMkLst>
        </pc:spChg>
        <pc:spChg chg="mod">
          <ac:chgData name="Wolfgang Moser" userId="733df6ee-58a4-4fd3-968f-bdef169b40f6" providerId="ADAL" clId="{B1C836C9-ECDD-4933-BBAF-9EE971F313BF}" dt="2024-10-10T08:10:23.558" v="2771" actId="20577"/>
          <ac:spMkLst>
            <pc:docMk/>
            <pc:sldMk cId="2121455153" sldId="515"/>
            <ac:spMk id="7" creationId="{5A4DB3F0-DF25-8517-2276-88C93510E358}"/>
          </ac:spMkLst>
        </pc:spChg>
        <pc:spChg chg="add mod">
          <ac:chgData name="Wolfgang Moser" userId="733df6ee-58a4-4fd3-968f-bdef169b40f6" providerId="ADAL" clId="{B1C836C9-ECDD-4933-BBAF-9EE971F313BF}" dt="2024-10-10T11:08:02.494" v="4572" actId="14100"/>
          <ac:spMkLst>
            <pc:docMk/>
            <pc:sldMk cId="2121455153" sldId="515"/>
            <ac:spMk id="11" creationId="{99A5609A-D0E0-6C15-9246-C582F3FA65F5}"/>
          </ac:spMkLst>
        </pc:spChg>
      </pc:sldChg>
      <pc:sldChg chg="addSp delSp modSp add mod modClrScheme chgLayout">
        <pc:chgData name="Wolfgang Moser" userId="733df6ee-58a4-4fd3-968f-bdef169b40f6" providerId="ADAL" clId="{B1C836C9-ECDD-4933-BBAF-9EE971F313BF}" dt="2024-10-10T08:27:17.490" v="3394" actId="20577"/>
        <pc:sldMkLst>
          <pc:docMk/>
          <pc:sldMk cId="2168968979" sldId="516"/>
        </pc:sldMkLst>
        <pc:spChg chg="mod or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2" creationId="{7D319F40-3E17-4E4D-8B3D-63C51D4C9FFE}"/>
          </ac:spMkLst>
        </pc:spChg>
        <pc:spChg chg="add del mo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4" creationId="{BE60CFD9-F5D3-F569-577F-FEA909CC5AB1}"/>
          </ac:spMkLst>
        </pc:spChg>
        <pc:spChg chg="add mod or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5" creationId="{CF088E36-545B-4182-93C8-47EF75476B17}"/>
          </ac:spMkLst>
        </pc:spChg>
        <pc:spChg chg="mod or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6" creationId="{DD870044-827F-7EFD-C046-37DE7B1A5929}"/>
          </ac:spMkLst>
        </pc:spChg>
        <pc:spChg chg="mod or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7" creationId="{8E15AD42-E08B-B19B-0B27-C0B968D7633D}"/>
          </ac:spMkLst>
        </pc:spChg>
        <pc:spChg chg="mod or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8" creationId="{28E911ED-837F-205B-6901-10A80281C020}"/>
          </ac:spMkLst>
        </pc:spChg>
        <pc:spChg chg="mod or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9" creationId="{4AA78B99-B147-E923-2399-58D3783206A0}"/>
          </ac:spMkLst>
        </pc:spChg>
        <pc:spChg chg="add mod or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10" creationId="{A435226F-9848-A2C1-AF99-58FC7DB1BCD5}"/>
          </ac:spMkLst>
        </pc:spChg>
        <pc:spChg chg="mod ord">
          <ac:chgData name="Wolfgang Moser" userId="733df6ee-58a4-4fd3-968f-bdef169b40f6" providerId="ADAL" clId="{B1C836C9-ECDD-4933-BBAF-9EE971F313BF}" dt="2024-10-10T08:27:17.490" v="3394" actId="20577"/>
          <ac:spMkLst>
            <pc:docMk/>
            <pc:sldMk cId="2168968979" sldId="516"/>
            <ac:spMk id="13" creationId="{724CC48B-82AB-A868-45B0-3A58FBCD5956}"/>
          </ac:spMkLst>
        </pc:spChg>
        <pc:spChg chg="del mod or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14" creationId="{60881134-603E-2776-77BB-CF86383AF7D7}"/>
          </ac:spMkLst>
        </pc:spChg>
        <pc:spChg chg="del mod ord">
          <ac:chgData name="Wolfgang Moser" userId="733df6ee-58a4-4fd3-968f-bdef169b40f6" providerId="ADAL" clId="{B1C836C9-ECDD-4933-BBAF-9EE971F313BF}" dt="2024-10-10T08:21:50.618" v="3137" actId="700"/>
          <ac:spMkLst>
            <pc:docMk/>
            <pc:sldMk cId="2168968979" sldId="516"/>
            <ac:spMk id="15" creationId="{6EC82C37-9413-9E23-B327-1F6F91342F3A}"/>
          </ac:spMkLst>
        </pc:spChg>
        <pc:spChg chg="del">
          <ac:chgData name="Wolfgang Moser" userId="733df6ee-58a4-4fd3-968f-bdef169b40f6" providerId="ADAL" clId="{B1C836C9-ECDD-4933-BBAF-9EE971F313BF}" dt="2024-10-10T08:21:43.400" v="3136" actId="478"/>
          <ac:spMkLst>
            <pc:docMk/>
            <pc:sldMk cId="2168968979" sldId="516"/>
            <ac:spMk id="16" creationId="{62FF5C9B-2A8F-36F0-3010-9965AEACEF52}"/>
          </ac:spMkLst>
        </pc:spChg>
      </pc:sldChg>
      <pc:sldChg chg="addSp delSp modSp add mod chgLayout">
        <pc:chgData name="Wolfgang Moser" userId="733df6ee-58a4-4fd3-968f-bdef169b40f6" providerId="ADAL" clId="{B1C836C9-ECDD-4933-BBAF-9EE971F313BF}" dt="2024-10-10T09:45:15.931" v="3603" actId="164"/>
        <pc:sldMkLst>
          <pc:docMk/>
          <pc:sldMk cId="4265524627" sldId="517"/>
        </pc:sldMkLst>
        <pc:spChg chg="mod ord">
          <ac:chgData name="Wolfgang Moser" userId="733df6ee-58a4-4fd3-968f-bdef169b40f6" providerId="ADAL" clId="{B1C836C9-ECDD-4933-BBAF-9EE971F313BF}" dt="2024-10-10T08:32:13.233" v="3475" actId="113"/>
          <ac:spMkLst>
            <pc:docMk/>
            <pc:sldMk cId="4265524627" sldId="517"/>
            <ac:spMk id="2" creationId="{9A855867-630C-30C2-C217-861779BEDB36}"/>
          </ac:spMkLst>
        </pc:spChg>
        <pc:spChg chg="add mod ord">
          <ac:chgData name="Wolfgang Moser" userId="733df6ee-58a4-4fd3-968f-bdef169b40f6" providerId="ADAL" clId="{B1C836C9-ECDD-4933-BBAF-9EE971F313BF}" dt="2024-10-10T08:30:48.093" v="3406" actId="700"/>
          <ac:spMkLst>
            <pc:docMk/>
            <pc:sldMk cId="4265524627" sldId="517"/>
            <ac:spMk id="3" creationId="{F6BDAE84-0ECB-A038-B10C-435D6E178B7B}"/>
          </ac:spMkLst>
        </pc:spChg>
        <pc:spChg chg="add mod ord">
          <ac:chgData name="Wolfgang Moser" userId="733df6ee-58a4-4fd3-968f-bdef169b40f6" providerId="ADAL" clId="{B1C836C9-ECDD-4933-BBAF-9EE971F313BF}" dt="2024-10-10T08:30:48.093" v="3406" actId="700"/>
          <ac:spMkLst>
            <pc:docMk/>
            <pc:sldMk cId="4265524627" sldId="517"/>
            <ac:spMk id="4" creationId="{38A43E32-D032-2E40-6668-0D42C1099159}"/>
          </ac:spMkLst>
        </pc:spChg>
        <pc:spChg chg="mod ord">
          <ac:chgData name="Wolfgang Moser" userId="733df6ee-58a4-4fd3-968f-bdef169b40f6" providerId="ADAL" clId="{B1C836C9-ECDD-4933-BBAF-9EE971F313BF}" dt="2024-10-10T08:36:24.527" v="3491" actId="14100"/>
          <ac:spMkLst>
            <pc:docMk/>
            <pc:sldMk cId="4265524627" sldId="517"/>
            <ac:spMk id="5" creationId="{E9CF6BE3-927E-7DA6-145F-29E07A48A639}"/>
          </ac:spMkLst>
        </pc:spChg>
        <pc:spChg chg="mod ord">
          <ac:chgData name="Wolfgang Moser" userId="733df6ee-58a4-4fd3-968f-bdef169b40f6" providerId="ADAL" clId="{B1C836C9-ECDD-4933-BBAF-9EE971F313BF}" dt="2024-10-10T08:30:48.093" v="3406" actId="700"/>
          <ac:spMkLst>
            <pc:docMk/>
            <pc:sldMk cId="4265524627" sldId="517"/>
            <ac:spMk id="6" creationId="{2472759E-297A-9BDF-158A-A0D15A8E8BB0}"/>
          </ac:spMkLst>
        </pc:spChg>
        <pc:spChg chg="mod ord">
          <ac:chgData name="Wolfgang Moser" userId="733df6ee-58a4-4fd3-968f-bdef169b40f6" providerId="ADAL" clId="{B1C836C9-ECDD-4933-BBAF-9EE971F313BF}" dt="2024-10-10T08:30:48.093" v="3406" actId="700"/>
          <ac:spMkLst>
            <pc:docMk/>
            <pc:sldMk cId="4265524627" sldId="517"/>
            <ac:spMk id="7" creationId="{CD5EE9F3-41F7-21B6-DA33-99990CD5B944}"/>
          </ac:spMkLst>
        </pc:spChg>
        <pc:spChg chg="mod ord">
          <ac:chgData name="Wolfgang Moser" userId="733df6ee-58a4-4fd3-968f-bdef169b40f6" providerId="ADAL" clId="{B1C836C9-ECDD-4933-BBAF-9EE971F313BF}" dt="2024-10-10T08:30:48.093" v="3406" actId="700"/>
          <ac:spMkLst>
            <pc:docMk/>
            <pc:sldMk cId="4265524627" sldId="517"/>
            <ac:spMk id="8" creationId="{F928C4B1-B8F6-4565-66AE-67CD5AA4CD8C}"/>
          </ac:spMkLst>
        </pc:spChg>
        <pc:spChg chg="mod ord">
          <ac:chgData name="Wolfgang Moser" userId="733df6ee-58a4-4fd3-968f-bdef169b40f6" providerId="ADAL" clId="{B1C836C9-ECDD-4933-BBAF-9EE971F313BF}" dt="2024-10-10T08:30:48.093" v="3406" actId="700"/>
          <ac:spMkLst>
            <pc:docMk/>
            <pc:sldMk cId="4265524627" sldId="517"/>
            <ac:spMk id="9" creationId="{6E80A326-7DDE-6799-C0D1-1908FBB9B7BC}"/>
          </ac:spMkLst>
        </pc:spChg>
        <pc:spChg chg="add">
          <ac:chgData name="Wolfgang Moser" userId="733df6ee-58a4-4fd3-968f-bdef169b40f6" providerId="ADAL" clId="{B1C836C9-ECDD-4933-BBAF-9EE971F313BF}" dt="2024-10-10T08:31:47.565" v="3464"/>
          <ac:spMkLst>
            <pc:docMk/>
            <pc:sldMk cId="4265524627" sldId="517"/>
            <ac:spMk id="10" creationId="{F87D2CEC-5E2E-282B-EB0C-BD803C549CDB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11" creationId="{B4178E17-5F09-6310-CD3A-3BC39F814436}"/>
          </ac:spMkLst>
        </pc:spChg>
        <pc:spChg chg="del">
          <ac:chgData name="Wolfgang Moser" userId="733df6ee-58a4-4fd3-968f-bdef169b40f6" providerId="ADAL" clId="{B1C836C9-ECDD-4933-BBAF-9EE971F313BF}" dt="2024-10-10T08:30:48.093" v="3406" actId="700"/>
          <ac:spMkLst>
            <pc:docMk/>
            <pc:sldMk cId="4265524627" sldId="517"/>
            <ac:spMk id="13" creationId="{BF7166DB-3CAB-85A6-A257-745FE201DFD5}"/>
          </ac:spMkLst>
        </pc:spChg>
        <pc:spChg chg="del">
          <ac:chgData name="Wolfgang Moser" userId="733df6ee-58a4-4fd3-968f-bdef169b40f6" providerId="ADAL" clId="{B1C836C9-ECDD-4933-BBAF-9EE971F313BF}" dt="2024-10-10T08:30:48.093" v="3406" actId="700"/>
          <ac:spMkLst>
            <pc:docMk/>
            <pc:sldMk cId="4265524627" sldId="517"/>
            <ac:spMk id="14" creationId="{DC3EFFE2-4211-4BF3-3A70-73079B312105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15" creationId="{CC3255A3-D74C-53AA-D8D2-8C728CE81732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17" creationId="{0A57DF1B-7A5F-5AB1-F384-7A78387A8C2A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18" creationId="{3D557F5E-AD20-2B92-05BE-274D150ACBA1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19" creationId="{476BB0F1-6452-C6E4-3003-72C588940449}"/>
          </ac:spMkLst>
        </pc:spChg>
        <pc:spChg chg="add del mod">
          <ac:chgData name="Wolfgang Moser" userId="733df6ee-58a4-4fd3-968f-bdef169b40f6" providerId="ADAL" clId="{B1C836C9-ECDD-4933-BBAF-9EE971F313BF}" dt="2024-10-10T08:39:54.657" v="3548" actId="478"/>
          <ac:spMkLst>
            <pc:docMk/>
            <pc:sldMk cId="4265524627" sldId="517"/>
            <ac:spMk id="20" creationId="{8019A777-2B6E-CF28-742C-DF030C612A15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21" creationId="{2C8BA9D0-4B3C-944A-23AB-7DC7F55753F3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22" creationId="{E778AF12-92C1-FCE7-5394-6DC1675CB50B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23" creationId="{98C244A3-7988-6133-3B26-268B96A0C634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24" creationId="{2A7E19EB-11D6-3BA4-572B-CD28F019BF99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25" creationId="{4D10BA49-DEF8-B914-C95E-6C34E35439B3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26" creationId="{C9633727-CAF8-C566-0A74-DBBDE0E75D45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27" creationId="{5E1A0060-458D-F65D-BA5A-DCBDD5C15E7A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28" creationId="{63271B26-72DC-8076-823D-9386BFB6E1FB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29" creationId="{BE42C8E6-C828-C10A-7A2F-3D0DD0A45CA7}"/>
          </ac:spMkLst>
        </pc:spChg>
        <pc:spChg chg="add del mod">
          <ac:chgData name="Wolfgang Moser" userId="733df6ee-58a4-4fd3-968f-bdef169b40f6" providerId="ADAL" clId="{B1C836C9-ECDD-4933-BBAF-9EE971F313BF}" dt="2024-10-10T08:42:31.138" v="3591" actId="478"/>
          <ac:spMkLst>
            <pc:docMk/>
            <pc:sldMk cId="4265524627" sldId="517"/>
            <ac:spMk id="30" creationId="{2FDA8D2B-E979-E2A7-8E9B-2128E0AD65C3}"/>
          </ac:spMkLst>
        </pc:spChg>
        <pc:spChg chg="add del mod">
          <ac:chgData name="Wolfgang Moser" userId="733df6ee-58a4-4fd3-968f-bdef169b40f6" providerId="ADAL" clId="{B1C836C9-ECDD-4933-BBAF-9EE971F313BF}" dt="2024-10-10T08:42:31.913" v="3592" actId="478"/>
          <ac:spMkLst>
            <pc:docMk/>
            <pc:sldMk cId="4265524627" sldId="517"/>
            <ac:spMk id="31" creationId="{F7C0218F-3E79-2D7A-8989-CDA7033A88B2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32" creationId="{37D5DDE0-5030-7D2A-F077-0505F47D5481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33" creationId="{3E9A3E49-2EFC-B015-A1A4-522502257A77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34" creationId="{B6C72C28-4114-46E8-D258-2E87414F4236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35" creationId="{4A1F4A08-7FFE-932D-EA3E-AB703909FC36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36" creationId="{0734C065-C205-6AF9-E485-FF7FAE59F53E}"/>
          </ac:spMkLst>
        </pc:spChg>
        <pc:spChg chg="add mod">
          <ac:chgData name="Wolfgang Moser" userId="733df6ee-58a4-4fd3-968f-bdef169b40f6" providerId="ADAL" clId="{B1C836C9-ECDD-4933-BBAF-9EE971F313BF}" dt="2024-10-10T09:45:15.931" v="3603" actId="164"/>
          <ac:spMkLst>
            <pc:docMk/>
            <pc:sldMk cId="4265524627" sldId="517"/>
            <ac:spMk id="37" creationId="{E7D63E72-CA4A-CD2D-D7F9-3B8AB3E860D9}"/>
          </ac:spMkLst>
        </pc:spChg>
        <pc:grpChg chg="add mod">
          <ac:chgData name="Wolfgang Moser" userId="733df6ee-58a4-4fd3-968f-bdef169b40f6" providerId="ADAL" clId="{B1C836C9-ECDD-4933-BBAF-9EE971F313BF}" dt="2024-10-10T09:45:15.931" v="3603" actId="164"/>
          <ac:grpSpMkLst>
            <pc:docMk/>
            <pc:sldMk cId="4265524627" sldId="517"/>
            <ac:grpSpMk id="38" creationId="{6BF7746C-DC2C-11C8-B8F4-27D2A02EE5B1}"/>
          </ac:grpSpMkLst>
        </pc:grpChg>
        <pc:picChg chg="del">
          <ac:chgData name="Wolfgang Moser" userId="733df6ee-58a4-4fd3-968f-bdef169b40f6" providerId="ADAL" clId="{B1C836C9-ECDD-4933-BBAF-9EE971F313BF}" dt="2024-10-10T08:30:27.161" v="3397" actId="478"/>
          <ac:picMkLst>
            <pc:docMk/>
            <pc:sldMk cId="4265524627" sldId="517"/>
            <ac:picMk id="12" creationId="{E0709C4A-6F97-13E8-B175-19BA4E47EC56}"/>
          </ac:picMkLst>
        </pc:picChg>
        <pc:picChg chg="del">
          <ac:chgData name="Wolfgang Moser" userId="733df6ee-58a4-4fd3-968f-bdef169b40f6" providerId="ADAL" clId="{B1C836C9-ECDD-4933-BBAF-9EE971F313BF}" dt="2024-10-10T08:30:39.143" v="3404" actId="478"/>
          <ac:picMkLst>
            <pc:docMk/>
            <pc:sldMk cId="4265524627" sldId="517"/>
            <ac:picMk id="16" creationId="{E0344E2B-5AF8-7F96-8C4A-29AF2E5E6C1D}"/>
          </ac:picMkLst>
        </pc:picChg>
      </pc:sldChg>
      <pc:sldChg chg="addSp delSp modSp add mod">
        <pc:chgData name="Wolfgang Moser" userId="733df6ee-58a4-4fd3-968f-bdef169b40f6" providerId="ADAL" clId="{B1C836C9-ECDD-4933-BBAF-9EE971F313BF}" dt="2024-10-14T13:47:32.703" v="4814" actId="20577"/>
        <pc:sldMkLst>
          <pc:docMk/>
          <pc:sldMk cId="960263469" sldId="518"/>
        </pc:sldMkLst>
        <pc:spChg chg="mod">
          <ac:chgData name="Wolfgang Moser" userId="733df6ee-58a4-4fd3-968f-bdef169b40f6" providerId="ADAL" clId="{B1C836C9-ECDD-4933-BBAF-9EE971F313BF}" dt="2024-10-10T09:45:24.195" v="3608" actId="20577"/>
          <ac:spMkLst>
            <pc:docMk/>
            <pc:sldMk cId="960263469" sldId="518"/>
            <ac:spMk id="2" creationId="{9A855867-630C-30C2-C217-861779BEDB36}"/>
          </ac:spMkLst>
        </pc:spChg>
        <pc:spChg chg="mod">
          <ac:chgData name="Wolfgang Moser" userId="733df6ee-58a4-4fd3-968f-bdef169b40f6" providerId="ADAL" clId="{B1C836C9-ECDD-4933-BBAF-9EE971F313BF}" dt="2024-10-10T10:26:54.352" v="4117" actId="14100"/>
          <ac:spMkLst>
            <pc:docMk/>
            <pc:sldMk cId="960263469" sldId="518"/>
            <ac:spMk id="5" creationId="{E9CF6BE3-927E-7DA6-145F-29E07A48A639}"/>
          </ac:spMkLst>
        </pc:spChg>
        <pc:spChg chg="add mod">
          <ac:chgData name="Wolfgang Moser" userId="733df6ee-58a4-4fd3-968f-bdef169b40f6" providerId="ADAL" clId="{B1C836C9-ECDD-4933-BBAF-9EE971F313BF}" dt="2024-10-10T10:20:44.040" v="4067" actId="164"/>
          <ac:spMkLst>
            <pc:docMk/>
            <pc:sldMk cId="960263469" sldId="518"/>
            <ac:spMk id="10" creationId="{C2CC1DD2-1723-2A38-A3E2-9A511BC3DB84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11" creationId="{B4178E17-5F09-6310-CD3A-3BC39F814436}"/>
          </ac:spMkLst>
        </pc:spChg>
        <pc:spChg chg="add del mod">
          <ac:chgData name="Wolfgang Moser" userId="733df6ee-58a4-4fd3-968f-bdef169b40f6" providerId="ADAL" clId="{B1C836C9-ECDD-4933-BBAF-9EE971F313BF}" dt="2024-10-10T09:47:33.267" v="3624" actId="478"/>
          <ac:spMkLst>
            <pc:docMk/>
            <pc:sldMk cId="960263469" sldId="518"/>
            <ac:spMk id="12" creationId="{BEE58DCB-3950-8798-500E-604045253744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15" creationId="{CC3255A3-D74C-53AA-D8D2-8C728CE81732}"/>
          </ac:spMkLst>
        </pc:spChg>
        <pc:spChg chg="add mod">
          <ac:chgData name="Wolfgang Moser" userId="733df6ee-58a4-4fd3-968f-bdef169b40f6" providerId="ADAL" clId="{B1C836C9-ECDD-4933-BBAF-9EE971F313BF}" dt="2024-10-10T10:20:44.040" v="4067" actId="164"/>
          <ac:spMkLst>
            <pc:docMk/>
            <pc:sldMk cId="960263469" sldId="518"/>
            <ac:spMk id="16" creationId="{F01030DD-4BC1-2ADF-C249-AF12591364B3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17" creationId="{0A57DF1B-7A5F-5AB1-F384-7A78387A8C2A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18" creationId="{3D557F5E-AD20-2B92-05BE-274D150ACBA1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19" creationId="{476BB0F1-6452-C6E4-3003-72C588940449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21" creationId="{2C8BA9D0-4B3C-944A-23AB-7DC7F55753F3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22" creationId="{E778AF12-92C1-FCE7-5394-6DC1675CB50B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23" creationId="{98C244A3-7988-6133-3B26-268B96A0C634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24" creationId="{2A7E19EB-11D6-3BA4-572B-CD28F019BF99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25" creationId="{4D10BA49-DEF8-B914-C95E-6C34E35439B3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26" creationId="{C9633727-CAF8-C566-0A74-DBBDE0E75D45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27" creationId="{5E1A0060-458D-F65D-BA5A-DCBDD5C15E7A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28" creationId="{63271B26-72DC-8076-823D-9386BFB6E1FB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29" creationId="{BE42C8E6-C828-C10A-7A2F-3D0DD0A45CA7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32" creationId="{37D5DDE0-5030-7D2A-F077-0505F47D5481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33" creationId="{3E9A3E49-2EFC-B015-A1A4-522502257A77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34" creationId="{B6C72C28-4114-46E8-D258-2E87414F4236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35" creationId="{4A1F4A08-7FFE-932D-EA3E-AB703909FC36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36" creationId="{0734C065-C205-6AF9-E485-FF7FAE59F53E}"/>
          </ac:spMkLst>
        </pc:spChg>
        <pc:spChg chg="del">
          <ac:chgData name="Wolfgang Moser" userId="733df6ee-58a4-4fd3-968f-bdef169b40f6" providerId="ADAL" clId="{B1C836C9-ECDD-4933-BBAF-9EE971F313BF}" dt="2024-10-10T09:45:29.190" v="3609" actId="478"/>
          <ac:spMkLst>
            <pc:docMk/>
            <pc:sldMk cId="960263469" sldId="518"/>
            <ac:spMk id="37" creationId="{E7D63E72-CA4A-CD2D-D7F9-3B8AB3E860D9}"/>
          </ac:spMkLst>
        </pc:spChg>
        <pc:spChg chg="add mod topLvl">
          <ac:chgData name="Wolfgang Moser" userId="733df6ee-58a4-4fd3-968f-bdef169b40f6" providerId="ADAL" clId="{B1C836C9-ECDD-4933-BBAF-9EE971F313BF}" dt="2024-10-10T10:20:44.040" v="4067" actId="164"/>
          <ac:spMkLst>
            <pc:docMk/>
            <pc:sldMk cId="960263469" sldId="518"/>
            <ac:spMk id="39" creationId="{FBDE0E5E-324F-AE73-CBE9-24FCA5215124}"/>
          </ac:spMkLst>
        </pc:spChg>
        <pc:spChg chg="mod topLvl">
          <ac:chgData name="Wolfgang Moser" userId="733df6ee-58a4-4fd3-968f-bdef169b40f6" providerId="ADAL" clId="{B1C836C9-ECDD-4933-BBAF-9EE971F313BF}" dt="2024-10-10T10:27:58.842" v="4123" actId="1076"/>
          <ac:spMkLst>
            <pc:docMk/>
            <pc:sldMk cId="960263469" sldId="518"/>
            <ac:spMk id="43" creationId="{5CE0A54E-A4C0-5D7F-5774-7F1004DB9DED}"/>
          </ac:spMkLst>
        </pc:spChg>
        <pc:spChg chg="add mod ord">
          <ac:chgData name="Wolfgang Moser" userId="733df6ee-58a4-4fd3-968f-bdef169b40f6" providerId="ADAL" clId="{B1C836C9-ECDD-4933-BBAF-9EE971F313BF}" dt="2024-10-10T10:02:05.122" v="3742" actId="164"/>
          <ac:spMkLst>
            <pc:docMk/>
            <pc:sldMk cId="960263469" sldId="518"/>
            <ac:spMk id="47" creationId="{B2B37F19-022A-0E18-5C45-872AD503671E}"/>
          </ac:spMkLst>
        </pc:spChg>
        <pc:spChg chg="mod">
          <ac:chgData name="Wolfgang Moser" userId="733df6ee-58a4-4fd3-968f-bdef169b40f6" providerId="ADAL" clId="{B1C836C9-ECDD-4933-BBAF-9EE971F313BF}" dt="2024-10-10T10:02:35.756" v="3746" actId="14826"/>
          <ac:spMkLst>
            <pc:docMk/>
            <pc:sldMk cId="960263469" sldId="518"/>
            <ac:spMk id="51" creationId="{E68AF1E1-36E1-2A25-8881-ABF333DA3C63}"/>
          </ac:spMkLst>
        </pc:spChg>
        <pc:spChg chg="add mod">
          <ac:chgData name="Wolfgang Moser" userId="733df6ee-58a4-4fd3-968f-bdef169b40f6" providerId="ADAL" clId="{B1C836C9-ECDD-4933-BBAF-9EE971F313BF}" dt="2024-10-10T10:20:44.040" v="4067" actId="164"/>
          <ac:spMkLst>
            <pc:docMk/>
            <pc:sldMk cId="960263469" sldId="518"/>
            <ac:spMk id="53" creationId="{A62DB954-B654-EBBB-3C9E-CE88F9C3EC35}"/>
          </ac:spMkLst>
        </pc:spChg>
        <pc:spChg chg="add mod">
          <ac:chgData name="Wolfgang Moser" userId="733df6ee-58a4-4fd3-968f-bdef169b40f6" providerId="ADAL" clId="{B1C836C9-ECDD-4933-BBAF-9EE971F313BF}" dt="2024-10-10T10:28:14.521" v="4124" actId="1076"/>
          <ac:spMkLst>
            <pc:docMk/>
            <pc:sldMk cId="960263469" sldId="518"/>
            <ac:spMk id="54" creationId="{8B55FC0C-D6D8-E29A-D68D-429A6F4CF8A8}"/>
          </ac:spMkLst>
        </pc:spChg>
        <pc:spChg chg="mod">
          <ac:chgData name="Wolfgang Moser" userId="733df6ee-58a4-4fd3-968f-bdef169b40f6" providerId="ADAL" clId="{B1C836C9-ECDD-4933-BBAF-9EE971F313BF}" dt="2024-10-10T10:03:28.606" v="3767"/>
          <ac:spMkLst>
            <pc:docMk/>
            <pc:sldMk cId="960263469" sldId="518"/>
            <ac:spMk id="57" creationId="{67036A8F-F235-4F48-EDDA-DF503732C8A2}"/>
          </ac:spMkLst>
        </pc:spChg>
        <pc:spChg chg="add mod">
          <ac:chgData name="Wolfgang Moser" userId="733df6ee-58a4-4fd3-968f-bdef169b40f6" providerId="ADAL" clId="{B1C836C9-ECDD-4933-BBAF-9EE971F313BF}" dt="2024-10-10T10:23:16.409" v="4081" actId="20577"/>
          <ac:spMkLst>
            <pc:docMk/>
            <pc:sldMk cId="960263469" sldId="518"/>
            <ac:spMk id="62" creationId="{8CD257BD-1D22-F133-3902-5BAE712CB706}"/>
          </ac:spMkLst>
        </pc:spChg>
        <pc:spChg chg="add mod">
          <ac:chgData name="Wolfgang Moser" userId="733df6ee-58a4-4fd3-968f-bdef169b40f6" providerId="ADAL" clId="{B1C836C9-ECDD-4933-BBAF-9EE971F313BF}" dt="2024-10-14T13:47:32.703" v="4814" actId="20577"/>
          <ac:spMkLst>
            <pc:docMk/>
            <pc:sldMk cId="960263469" sldId="518"/>
            <ac:spMk id="63" creationId="{7FAA91AF-759C-C793-EB9C-8A6F98B343F5}"/>
          </ac:spMkLst>
        </pc:spChg>
        <pc:spChg chg="add mod">
          <ac:chgData name="Wolfgang Moser" userId="733df6ee-58a4-4fd3-968f-bdef169b40f6" providerId="ADAL" clId="{B1C836C9-ECDD-4933-BBAF-9EE971F313BF}" dt="2024-10-10T10:20:44.040" v="4067" actId="164"/>
          <ac:spMkLst>
            <pc:docMk/>
            <pc:sldMk cId="960263469" sldId="518"/>
            <ac:spMk id="64" creationId="{994C56AC-B129-0155-B89F-7266CFC1FFC4}"/>
          </ac:spMkLst>
        </pc:spChg>
        <pc:spChg chg="add mod">
          <ac:chgData name="Wolfgang Moser" userId="733df6ee-58a4-4fd3-968f-bdef169b40f6" providerId="ADAL" clId="{B1C836C9-ECDD-4933-BBAF-9EE971F313BF}" dt="2024-10-10T10:20:44.040" v="4067" actId="164"/>
          <ac:spMkLst>
            <pc:docMk/>
            <pc:sldMk cId="960263469" sldId="518"/>
            <ac:spMk id="71" creationId="{7BB89CCA-F99C-72A7-0923-20319F5B62D9}"/>
          </ac:spMkLst>
        </pc:spChg>
        <pc:spChg chg="add mod">
          <ac:chgData name="Wolfgang Moser" userId="733df6ee-58a4-4fd3-968f-bdef169b40f6" providerId="ADAL" clId="{B1C836C9-ECDD-4933-BBAF-9EE971F313BF}" dt="2024-10-10T10:18:01.791" v="4022" actId="164"/>
          <ac:spMkLst>
            <pc:docMk/>
            <pc:sldMk cId="960263469" sldId="518"/>
            <ac:spMk id="80" creationId="{74B361BB-B980-FB7B-80F3-5C361543D688}"/>
          </ac:spMkLst>
        </pc:spChg>
        <pc:spChg chg="add mod">
          <ac:chgData name="Wolfgang Moser" userId="733df6ee-58a4-4fd3-968f-bdef169b40f6" providerId="ADAL" clId="{B1C836C9-ECDD-4933-BBAF-9EE971F313BF}" dt="2024-10-10T10:29:16.408" v="4127" actId="1076"/>
          <ac:spMkLst>
            <pc:docMk/>
            <pc:sldMk cId="960263469" sldId="518"/>
            <ac:spMk id="81" creationId="{6CEE8131-5CCF-25AF-6A40-12F56E33943A}"/>
          </ac:spMkLst>
        </pc:spChg>
        <pc:spChg chg="add mod">
          <ac:chgData name="Wolfgang Moser" userId="733df6ee-58a4-4fd3-968f-bdef169b40f6" providerId="ADAL" clId="{B1C836C9-ECDD-4933-BBAF-9EE971F313BF}" dt="2024-10-10T10:17:45.212" v="4020" actId="164"/>
          <ac:spMkLst>
            <pc:docMk/>
            <pc:sldMk cId="960263469" sldId="518"/>
            <ac:spMk id="82" creationId="{772193A4-82AC-B211-20FA-CFCAB69019A3}"/>
          </ac:spMkLst>
        </pc:spChg>
        <pc:spChg chg="add mod">
          <ac:chgData name="Wolfgang Moser" userId="733df6ee-58a4-4fd3-968f-bdef169b40f6" providerId="ADAL" clId="{B1C836C9-ECDD-4933-BBAF-9EE971F313BF}" dt="2024-10-10T10:17:40.139" v="4019" actId="164"/>
          <ac:spMkLst>
            <pc:docMk/>
            <pc:sldMk cId="960263469" sldId="518"/>
            <ac:spMk id="83" creationId="{6F7A6F46-0250-F9E7-9987-DED7B58FE963}"/>
          </ac:spMkLst>
        </pc:spChg>
        <pc:spChg chg="add mod">
          <ac:chgData name="Wolfgang Moser" userId="733df6ee-58a4-4fd3-968f-bdef169b40f6" providerId="ADAL" clId="{B1C836C9-ECDD-4933-BBAF-9EE971F313BF}" dt="2024-10-10T10:20:44.040" v="4067" actId="164"/>
          <ac:spMkLst>
            <pc:docMk/>
            <pc:sldMk cId="960263469" sldId="518"/>
            <ac:spMk id="88" creationId="{53DE24F3-D23D-FC38-BA7F-4CF4ACEB81B4}"/>
          </ac:spMkLst>
        </pc:spChg>
        <pc:spChg chg="add mod">
          <ac:chgData name="Wolfgang Moser" userId="733df6ee-58a4-4fd3-968f-bdef169b40f6" providerId="ADAL" clId="{B1C836C9-ECDD-4933-BBAF-9EE971F313BF}" dt="2024-10-10T10:29:41.250" v="4129" actId="14100"/>
          <ac:spMkLst>
            <pc:docMk/>
            <pc:sldMk cId="960263469" sldId="518"/>
            <ac:spMk id="90" creationId="{3EC94CD5-57DF-7322-2E35-F0FAAA7703FD}"/>
          </ac:spMkLst>
        </pc:spChg>
        <pc:spChg chg="add mod">
          <ac:chgData name="Wolfgang Moser" userId="733df6ee-58a4-4fd3-968f-bdef169b40f6" providerId="ADAL" clId="{B1C836C9-ECDD-4933-BBAF-9EE971F313BF}" dt="2024-10-10T10:29:45.058" v="4130" actId="14100"/>
          <ac:spMkLst>
            <pc:docMk/>
            <pc:sldMk cId="960263469" sldId="518"/>
            <ac:spMk id="91" creationId="{C58B18F4-AA92-E342-A364-8E4D579B1C65}"/>
          </ac:spMkLst>
        </pc:spChg>
        <pc:spChg chg="add">
          <ac:chgData name="Wolfgang Moser" userId="733df6ee-58a4-4fd3-968f-bdef169b40f6" providerId="ADAL" clId="{B1C836C9-ECDD-4933-BBAF-9EE971F313BF}" dt="2024-10-10T10:26:04.772" v="4109"/>
          <ac:spMkLst>
            <pc:docMk/>
            <pc:sldMk cId="960263469" sldId="518"/>
            <ac:spMk id="92" creationId="{D2740AF9-82EE-07BF-2EA1-FFFF67E72BD9}"/>
          </ac:spMkLst>
        </pc:spChg>
        <pc:grpChg chg="add del mod">
          <ac:chgData name="Wolfgang Moser" userId="733df6ee-58a4-4fd3-968f-bdef169b40f6" providerId="ADAL" clId="{B1C836C9-ECDD-4933-BBAF-9EE971F313BF}" dt="2024-10-10T09:55:29.768" v="3722" actId="165"/>
          <ac:grpSpMkLst>
            <pc:docMk/>
            <pc:sldMk cId="960263469" sldId="518"/>
            <ac:grpSpMk id="40" creationId="{9417CE8B-2504-078E-1031-76F2B7B1D207}"/>
          </ac:grpSpMkLst>
        </pc:grpChg>
        <pc:grpChg chg="add del mod">
          <ac:chgData name="Wolfgang Moser" userId="733df6ee-58a4-4fd3-968f-bdef169b40f6" providerId="ADAL" clId="{B1C836C9-ECDD-4933-BBAF-9EE971F313BF}" dt="2024-10-10T09:55:29.768" v="3722" actId="165"/>
          <ac:grpSpMkLst>
            <pc:docMk/>
            <pc:sldMk cId="960263469" sldId="518"/>
            <ac:grpSpMk id="41" creationId="{E4A94F6F-3767-1D4E-C22D-D7BD8533B083}"/>
          </ac:grpSpMkLst>
        </pc:grpChg>
        <pc:grpChg chg="add mod">
          <ac:chgData name="Wolfgang Moser" userId="733df6ee-58a4-4fd3-968f-bdef169b40f6" providerId="ADAL" clId="{B1C836C9-ECDD-4933-BBAF-9EE971F313BF}" dt="2024-10-10T10:20:44.040" v="4067" actId="164"/>
          <ac:grpSpMkLst>
            <pc:docMk/>
            <pc:sldMk cId="960263469" sldId="518"/>
            <ac:grpSpMk id="48" creationId="{87BBB84B-0E40-658B-43FE-77F18789E48A}"/>
          </ac:grpSpMkLst>
        </pc:grpChg>
        <pc:grpChg chg="add mod">
          <ac:chgData name="Wolfgang Moser" userId="733df6ee-58a4-4fd3-968f-bdef169b40f6" providerId="ADAL" clId="{B1C836C9-ECDD-4933-BBAF-9EE971F313BF}" dt="2024-10-10T10:20:44.040" v="4067" actId="164"/>
          <ac:grpSpMkLst>
            <pc:docMk/>
            <pc:sldMk cId="960263469" sldId="518"/>
            <ac:grpSpMk id="49" creationId="{E3375D6A-5953-12B7-C323-BD61C77FBECB}"/>
          </ac:grpSpMkLst>
        </pc:grpChg>
        <pc:grpChg chg="add del mod">
          <ac:chgData name="Wolfgang Moser" userId="733df6ee-58a4-4fd3-968f-bdef169b40f6" providerId="ADAL" clId="{B1C836C9-ECDD-4933-BBAF-9EE971F313BF}" dt="2024-10-10T10:04:18.582" v="3788" actId="478"/>
          <ac:grpSpMkLst>
            <pc:docMk/>
            <pc:sldMk cId="960263469" sldId="518"/>
            <ac:grpSpMk id="55" creationId="{BE5732F4-63EE-0414-33F1-D64750976A50}"/>
          </ac:grpSpMkLst>
        </pc:grpChg>
        <pc:grpChg chg="add mod">
          <ac:chgData name="Wolfgang Moser" userId="733df6ee-58a4-4fd3-968f-bdef169b40f6" providerId="ADAL" clId="{B1C836C9-ECDD-4933-BBAF-9EE971F313BF}" dt="2024-10-10T10:20:44.040" v="4067" actId="164"/>
          <ac:grpSpMkLst>
            <pc:docMk/>
            <pc:sldMk cId="960263469" sldId="518"/>
            <ac:grpSpMk id="84" creationId="{4BCC224B-EFD7-220D-0D65-ADB847131E1A}"/>
          </ac:grpSpMkLst>
        </pc:grpChg>
        <pc:grpChg chg="add mod">
          <ac:chgData name="Wolfgang Moser" userId="733df6ee-58a4-4fd3-968f-bdef169b40f6" providerId="ADAL" clId="{B1C836C9-ECDD-4933-BBAF-9EE971F313BF}" dt="2024-10-10T10:20:44.040" v="4067" actId="164"/>
          <ac:grpSpMkLst>
            <pc:docMk/>
            <pc:sldMk cId="960263469" sldId="518"/>
            <ac:grpSpMk id="85" creationId="{0CCA66D2-5CCA-AF3E-AB83-1E6A03B9013A}"/>
          </ac:grpSpMkLst>
        </pc:grpChg>
        <pc:grpChg chg="add mod">
          <ac:chgData name="Wolfgang Moser" userId="733df6ee-58a4-4fd3-968f-bdef169b40f6" providerId="ADAL" clId="{B1C836C9-ECDD-4933-BBAF-9EE971F313BF}" dt="2024-10-10T10:20:44.040" v="4067" actId="164"/>
          <ac:grpSpMkLst>
            <pc:docMk/>
            <pc:sldMk cId="960263469" sldId="518"/>
            <ac:grpSpMk id="86" creationId="{902D5044-96FD-166F-D222-CF1E61459EF7}"/>
          </ac:grpSpMkLst>
        </pc:grpChg>
        <pc:grpChg chg="add mod">
          <ac:chgData name="Wolfgang Moser" userId="733df6ee-58a4-4fd3-968f-bdef169b40f6" providerId="ADAL" clId="{B1C836C9-ECDD-4933-BBAF-9EE971F313BF}" dt="2024-10-10T10:20:44.040" v="4067" actId="164"/>
          <ac:grpSpMkLst>
            <pc:docMk/>
            <pc:sldMk cId="960263469" sldId="518"/>
            <ac:grpSpMk id="87" creationId="{C912B228-ADE2-3327-3FC4-867F636F3FEB}"/>
          </ac:grpSpMkLst>
        </pc:grpChg>
        <pc:grpChg chg="add mod">
          <ac:chgData name="Wolfgang Moser" userId="733df6ee-58a4-4fd3-968f-bdef169b40f6" providerId="ADAL" clId="{B1C836C9-ECDD-4933-BBAF-9EE971F313BF}" dt="2024-10-10T10:24:04.945" v="4090" actId="1076"/>
          <ac:grpSpMkLst>
            <pc:docMk/>
            <pc:sldMk cId="960263469" sldId="518"/>
            <ac:grpSpMk id="89" creationId="{4713ADE4-8A84-7D6E-79D8-7C1277D1AD79}"/>
          </ac:grpSpMkLst>
        </pc:grpChg>
        <pc:picChg chg="add mod">
          <ac:chgData name="Wolfgang Moser" userId="733df6ee-58a4-4fd3-968f-bdef169b40f6" providerId="ADAL" clId="{B1C836C9-ECDD-4933-BBAF-9EE971F313BF}" dt="2024-10-10T10:20:44.040" v="4067" actId="164"/>
          <ac:picMkLst>
            <pc:docMk/>
            <pc:sldMk cId="960263469" sldId="518"/>
            <ac:picMk id="14" creationId="{60CF9988-8EC0-0526-8F05-A26111B526F2}"/>
          </ac:picMkLst>
        </pc:picChg>
        <pc:picChg chg="add mod topLvl">
          <ac:chgData name="Wolfgang Moser" userId="733df6ee-58a4-4fd3-968f-bdef169b40f6" providerId="ADAL" clId="{B1C836C9-ECDD-4933-BBAF-9EE971F313BF}" dt="2024-10-10T10:02:05.122" v="3742" actId="164"/>
          <ac:picMkLst>
            <pc:docMk/>
            <pc:sldMk cId="960263469" sldId="518"/>
            <ac:picMk id="30" creationId="{A1EB0972-AA69-A154-1ACE-4DC3D716FDA6}"/>
          </ac:picMkLst>
        </pc:picChg>
        <pc:picChg chg="add del mod">
          <ac:chgData name="Wolfgang Moser" userId="733df6ee-58a4-4fd3-968f-bdef169b40f6" providerId="ADAL" clId="{B1C836C9-ECDD-4933-BBAF-9EE971F313BF}" dt="2024-10-10T09:54:59.997" v="3701" actId="478"/>
          <ac:picMkLst>
            <pc:docMk/>
            <pc:sldMk cId="960263469" sldId="518"/>
            <ac:picMk id="38" creationId="{F316B2BF-B446-CCD8-A547-2A98FCC351BE}"/>
          </ac:picMkLst>
        </pc:picChg>
        <pc:picChg chg="del mod topLvl">
          <ac:chgData name="Wolfgang Moser" userId="733df6ee-58a4-4fd3-968f-bdef169b40f6" providerId="ADAL" clId="{B1C836C9-ECDD-4933-BBAF-9EE971F313BF}" dt="2024-10-10T10:02:40.977" v="3747" actId="478"/>
          <ac:picMkLst>
            <pc:docMk/>
            <pc:sldMk cId="960263469" sldId="518"/>
            <ac:picMk id="42" creationId="{DE7DAEB2-C7F2-8F95-0012-5397E010F394}"/>
          </ac:picMkLst>
        </pc:picChg>
        <pc:picChg chg="add del mod">
          <ac:chgData name="Wolfgang Moser" userId="733df6ee-58a4-4fd3-968f-bdef169b40f6" providerId="ADAL" clId="{B1C836C9-ECDD-4933-BBAF-9EE971F313BF}" dt="2024-10-10T09:59:36.365" v="3726" actId="478"/>
          <ac:picMkLst>
            <pc:docMk/>
            <pc:sldMk cId="960263469" sldId="518"/>
            <ac:picMk id="45" creationId="{1DE1CA53-CDA3-2DB1-8EE4-50F9B7EE43C1}"/>
          </ac:picMkLst>
        </pc:picChg>
        <pc:picChg chg="add mod ord">
          <ac:chgData name="Wolfgang Moser" userId="733df6ee-58a4-4fd3-968f-bdef169b40f6" providerId="ADAL" clId="{B1C836C9-ECDD-4933-BBAF-9EE971F313BF}" dt="2024-10-10T10:02:05.122" v="3742" actId="164"/>
          <ac:picMkLst>
            <pc:docMk/>
            <pc:sldMk cId="960263469" sldId="518"/>
            <ac:picMk id="46" creationId="{3A5DFF38-813E-949D-04C1-A33C627B8E5A}"/>
          </ac:picMkLst>
        </pc:picChg>
        <pc:picChg chg="mod">
          <ac:chgData name="Wolfgang Moser" userId="733df6ee-58a4-4fd3-968f-bdef169b40f6" providerId="ADAL" clId="{B1C836C9-ECDD-4933-BBAF-9EE971F313BF}" dt="2024-10-10T10:02:35.756" v="3746" actId="14826"/>
          <ac:picMkLst>
            <pc:docMk/>
            <pc:sldMk cId="960263469" sldId="518"/>
            <ac:picMk id="50" creationId="{70BCE9AC-06E2-7BFB-76DC-CC0D66ED007B}"/>
          </ac:picMkLst>
        </pc:picChg>
        <pc:picChg chg="mod">
          <ac:chgData name="Wolfgang Moser" userId="733df6ee-58a4-4fd3-968f-bdef169b40f6" providerId="ADAL" clId="{B1C836C9-ECDD-4933-BBAF-9EE971F313BF}" dt="2024-10-10T10:02:35.756" v="3746" actId="14826"/>
          <ac:picMkLst>
            <pc:docMk/>
            <pc:sldMk cId="960263469" sldId="518"/>
            <ac:picMk id="52" creationId="{FFCAFBEB-12FF-1E3C-CEE8-B8341EF35EFE}"/>
          </ac:picMkLst>
        </pc:picChg>
        <pc:picChg chg="mod">
          <ac:chgData name="Wolfgang Moser" userId="733df6ee-58a4-4fd3-968f-bdef169b40f6" providerId="ADAL" clId="{B1C836C9-ECDD-4933-BBAF-9EE971F313BF}" dt="2024-10-10T10:03:28.606" v="3767"/>
          <ac:picMkLst>
            <pc:docMk/>
            <pc:sldMk cId="960263469" sldId="518"/>
            <ac:picMk id="56" creationId="{06E9F194-0CB9-B93F-A49F-25398750CA87}"/>
          </ac:picMkLst>
        </pc:picChg>
        <pc:picChg chg="mod">
          <ac:chgData name="Wolfgang Moser" userId="733df6ee-58a4-4fd3-968f-bdef169b40f6" providerId="ADAL" clId="{B1C836C9-ECDD-4933-BBAF-9EE971F313BF}" dt="2024-10-10T10:03:28.606" v="3767"/>
          <ac:picMkLst>
            <pc:docMk/>
            <pc:sldMk cId="960263469" sldId="518"/>
            <ac:picMk id="58" creationId="{FDE6DFC9-EAE0-2052-7A56-48FBDF629021}"/>
          </ac:picMkLst>
        </pc:picChg>
        <pc:picChg chg="add mod">
          <ac:chgData name="Wolfgang Moser" userId="733df6ee-58a4-4fd3-968f-bdef169b40f6" providerId="ADAL" clId="{B1C836C9-ECDD-4933-BBAF-9EE971F313BF}" dt="2024-10-10T10:20:44.040" v="4067" actId="164"/>
          <ac:picMkLst>
            <pc:docMk/>
            <pc:sldMk cId="960263469" sldId="518"/>
            <ac:picMk id="60" creationId="{146CE52D-9102-06BB-2727-4846FB67EFBC}"/>
          </ac:picMkLst>
        </pc:picChg>
        <pc:picChg chg="add mod">
          <ac:chgData name="Wolfgang Moser" userId="733df6ee-58a4-4fd3-968f-bdef169b40f6" providerId="ADAL" clId="{B1C836C9-ECDD-4933-BBAF-9EE971F313BF}" dt="2024-10-10T10:20:44.040" v="4067" actId="164"/>
          <ac:picMkLst>
            <pc:docMk/>
            <pc:sldMk cId="960263469" sldId="518"/>
            <ac:picMk id="61" creationId="{B0BEE252-A0D5-943F-9CF9-6AB2D4FD00E0}"/>
          </ac:picMkLst>
        </pc:picChg>
        <pc:picChg chg="add mod ord">
          <ac:chgData name="Wolfgang Moser" userId="733df6ee-58a4-4fd3-968f-bdef169b40f6" providerId="ADAL" clId="{B1C836C9-ECDD-4933-BBAF-9EE971F313BF}" dt="2024-10-10T10:20:44.040" v="4067" actId="164"/>
          <ac:picMkLst>
            <pc:docMk/>
            <pc:sldMk cId="960263469" sldId="518"/>
            <ac:picMk id="66" creationId="{CE4966CA-CECD-60C9-2D45-2F8CD3326781}"/>
          </ac:picMkLst>
        </pc:picChg>
        <pc:picChg chg="add del mod">
          <ac:chgData name="Wolfgang Moser" userId="733df6ee-58a4-4fd3-968f-bdef169b40f6" providerId="ADAL" clId="{B1C836C9-ECDD-4933-BBAF-9EE971F313BF}" dt="2024-10-10T10:10:00.529" v="3843" actId="478"/>
          <ac:picMkLst>
            <pc:docMk/>
            <pc:sldMk cId="960263469" sldId="518"/>
            <ac:picMk id="68" creationId="{DD8745BA-1C2D-1083-D266-D6FB4EAD45D9}"/>
          </ac:picMkLst>
        </pc:picChg>
        <pc:picChg chg="add mod">
          <ac:chgData name="Wolfgang Moser" userId="733df6ee-58a4-4fd3-968f-bdef169b40f6" providerId="ADAL" clId="{B1C836C9-ECDD-4933-BBAF-9EE971F313BF}" dt="2024-10-10T10:20:44.040" v="4067" actId="164"/>
          <ac:picMkLst>
            <pc:docMk/>
            <pc:sldMk cId="960263469" sldId="518"/>
            <ac:picMk id="70" creationId="{718F51E2-C232-D98D-F1A9-3350C2BA3695}"/>
          </ac:picMkLst>
        </pc:picChg>
        <pc:picChg chg="add mod">
          <ac:chgData name="Wolfgang Moser" userId="733df6ee-58a4-4fd3-968f-bdef169b40f6" providerId="ADAL" clId="{B1C836C9-ECDD-4933-BBAF-9EE971F313BF}" dt="2024-10-10T10:17:40.139" v="4019" actId="164"/>
          <ac:picMkLst>
            <pc:docMk/>
            <pc:sldMk cId="960263469" sldId="518"/>
            <ac:picMk id="73" creationId="{95CD9269-AF88-22F1-66F5-2FAE871D087F}"/>
          </ac:picMkLst>
        </pc:picChg>
        <pc:picChg chg="add mod">
          <ac:chgData name="Wolfgang Moser" userId="733df6ee-58a4-4fd3-968f-bdef169b40f6" providerId="ADAL" clId="{B1C836C9-ECDD-4933-BBAF-9EE971F313BF}" dt="2024-10-10T10:29:16.408" v="4127" actId="1076"/>
          <ac:picMkLst>
            <pc:docMk/>
            <pc:sldMk cId="960263469" sldId="518"/>
            <ac:picMk id="75" creationId="{09A64846-3EBB-051B-ED17-AB2BB76DA291}"/>
          </ac:picMkLst>
        </pc:picChg>
        <pc:picChg chg="add mod">
          <ac:chgData name="Wolfgang Moser" userId="733df6ee-58a4-4fd3-968f-bdef169b40f6" providerId="ADAL" clId="{B1C836C9-ECDD-4933-BBAF-9EE971F313BF}" dt="2024-10-10T10:18:01.791" v="4022" actId="164"/>
          <ac:picMkLst>
            <pc:docMk/>
            <pc:sldMk cId="960263469" sldId="518"/>
            <ac:picMk id="77" creationId="{746ED1AF-45C3-1521-DE23-C97FC09BF206}"/>
          </ac:picMkLst>
        </pc:picChg>
        <pc:picChg chg="add mod">
          <ac:chgData name="Wolfgang Moser" userId="733df6ee-58a4-4fd3-968f-bdef169b40f6" providerId="ADAL" clId="{B1C836C9-ECDD-4933-BBAF-9EE971F313BF}" dt="2024-10-10T10:17:45.212" v="4020" actId="164"/>
          <ac:picMkLst>
            <pc:docMk/>
            <pc:sldMk cId="960263469" sldId="518"/>
            <ac:picMk id="79" creationId="{1BDD01D6-F5DA-0082-F572-EE71C36D147A}"/>
          </ac:picMkLst>
        </pc:picChg>
      </pc:sldChg>
      <pc:sldChg chg="modSp add mod modShow">
        <pc:chgData name="Wolfgang Moser" userId="733df6ee-58a4-4fd3-968f-bdef169b40f6" providerId="ADAL" clId="{B1C836C9-ECDD-4933-BBAF-9EE971F313BF}" dt="2024-10-11T10:41:30.037" v="4686" actId="20577"/>
        <pc:sldMkLst>
          <pc:docMk/>
          <pc:sldMk cId="3376543741" sldId="519"/>
        </pc:sldMkLst>
        <pc:spChg chg="mod">
          <ac:chgData name="Wolfgang Moser" userId="733df6ee-58a4-4fd3-968f-bdef169b40f6" providerId="ADAL" clId="{B1C836C9-ECDD-4933-BBAF-9EE971F313BF}" dt="2024-10-11T09:09:38.687" v="4635" actId="20577"/>
          <ac:spMkLst>
            <pc:docMk/>
            <pc:sldMk cId="3376543741" sldId="519"/>
            <ac:spMk id="17" creationId="{AD3D6C00-6D6B-DBD7-3FA3-A4C5EBFAA7A7}"/>
          </ac:spMkLst>
        </pc:spChg>
        <pc:spChg chg="mod">
          <ac:chgData name="Wolfgang Moser" userId="733df6ee-58a4-4fd3-968f-bdef169b40f6" providerId="ADAL" clId="{B1C836C9-ECDD-4933-BBAF-9EE971F313BF}" dt="2024-10-11T10:41:30.037" v="4686" actId="20577"/>
          <ac:spMkLst>
            <pc:docMk/>
            <pc:sldMk cId="3376543741" sldId="519"/>
            <ac:spMk id="18" creationId="{9CC4F145-4BBD-311A-665F-07CFD22642C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9CAECD-5241-0548-A995-08144231676A}" type="datetimeFigureOut">
              <a:rPr lang="de-DE" smtClean="0"/>
              <a:t>09.10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8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38096-C5FA-5E48-AB6B-4623B3B195C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72718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72D002-7118-5345-8313-A118FBBA2074}" type="datetimeFigureOut">
              <a:rPr lang="de-DE" smtClean="0"/>
              <a:t>09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692150"/>
            <a:ext cx="615950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DBFB7C-7FD5-694A-9FCA-ADD011B9587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15167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www.protectedtext.com/git-pycharm-ado</a:t>
            </a:r>
          </a:p>
          <a:p>
            <a:r>
              <a:rPr lang="de-DE" dirty="0"/>
              <a:t>Password: ergo123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51653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ag v1.0 and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at </a:t>
            </a:r>
            <a:r>
              <a:rPr lang="de-DE" dirty="0" err="1"/>
              <a:t>commit</a:t>
            </a:r>
            <a:r>
              <a:rPr lang="de-DE" dirty="0"/>
              <a:t> f30ab</a:t>
            </a:r>
          </a:p>
          <a:p>
            <a:r>
              <a:rPr lang="de-DE" dirty="0"/>
              <a:t>HEA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2061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You create a branch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from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r>
              <a:rPr lang="en-US" dirty="0"/>
              <a:t> to work on a tas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8838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You work on that task and create a comm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71234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en-US" dirty="0"/>
              <a:t>Suddenly you receive a request to fix something in the production branch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</a:p>
          <a:p>
            <a:pPr marL="0" indent="0">
              <a:buFont typeface="+mj-lt"/>
              <a:buNone/>
            </a:pPr>
            <a:r>
              <a:rPr lang="en-US" dirty="0"/>
              <a:t>You switch to the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r>
              <a:rPr lang="en-US" dirty="0"/>
              <a:t> branch and create a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hotfix</a:t>
            </a:r>
            <a:r>
              <a:rPr lang="en-US" dirty="0"/>
              <a:t> branch</a:t>
            </a:r>
          </a:p>
          <a:p>
            <a:pPr marL="0" indent="0">
              <a:buFont typeface="+mj-lt"/>
              <a:buNone/>
            </a:pPr>
            <a:r>
              <a:rPr lang="en-US" dirty="0"/>
              <a:t>You solve the problem with a new commit on the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hotfix</a:t>
            </a:r>
            <a:r>
              <a:rPr lang="en-US" dirty="0"/>
              <a:t> branch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03938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en-US" dirty="0"/>
              <a:t>You merge the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hotfix</a:t>
            </a:r>
            <a:r>
              <a:rPr lang="en-US" dirty="0"/>
              <a:t> branch into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7048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en-US" dirty="0"/>
              <a:t>Then you switch back to your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branch and continue wor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0747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en-US" dirty="0"/>
              <a:t>You finish work on your task and merge the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branch into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63424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en-US" dirty="0"/>
              <a:t>You finish work on your task and merge the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branch into </a:t>
            </a:r>
            <a:r>
              <a:rPr lang="en-US" sz="11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12088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64925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7767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VS: </a:t>
            </a:r>
            <a:r>
              <a:rPr lang="de-DE" dirty="0" err="1"/>
              <a:t>Concurrent</a:t>
            </a:r>
            <a:r>
              <a:rPr lang="de-DE" dirty="0"/>
              <a:t> Versions System</a:t>
            </a:r>
          </a:p>
          <a:p>
            <a:r>
              <a:rPr lang="de-DE" dirty="0"/>
              <a:t>RCS: Revision Control Syste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38799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12495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93691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00593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769500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Commit Best Practices: https://gist.github.com/luismts/495d982e8c5b1a0ced4a57cf3d93cf6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1880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pre-commit.com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97868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effectLst/>
              </a:rPr>
              <a:t>https://WMC-Consulting@dev.azure.com/WMC-Consulting/Git%20Workshop/_git/git-workshop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22655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ocus will </a:t>
            </a:r>
            <a:r>
              <a:rPr lang="de-DE" dirty="0" err="1"/>
              <a:t>be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. Short </a:t>
            </a:r>
            <a:r>
              <a:rPr lang="de-DE" dirty="0" err="1"/>
              <a:t>intro</a:t>
            </a:r>
            <a:r>
              <a:rPr lang="de-DE" dirty="0"/>
              <a:t> also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. Last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covered</a:t>
            </a:r>
            <a:r>
              <a:rPr lang="de-DE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6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93799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277246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atus Checks: Require other services to post successful status to complete pull request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25098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‘</a:t>
            </a:r>
            <a:r>
              <a:rPr lang="de-DE" dirty="0" err="1"/>
              <a:t>git</a:t>
            </a:r>
            <a:r>
              <a:rPr lang="de-DE" dirty="0"/>
              <a:t>‘ </a:t>
            </a:r>
            <a:r>
              <a:rPr lang="de-DE" dirty="0" err="1"/>
              <a:t>is</a:t>
            </a:r>
            <a:r>
              <a:rPr lang="de-DE" dirty="0"/>
              <a:t> British </a:t>
            </a:r>
            <a:r>
              <a:rPr lang="de-DE" dirty="0" err="1"/>
              <a:t>slang</a:t>
            </a:r>
            <a:r>
              <a:rPr lang="de-DE" dirty="0"/>
              <a:t> </a:t>
            </a:r>
            <a:r>
              <a:rPr lang="de-DE" dirty="0" err="1"/>
              <a:t>meaning</a:t>
            </a:r>
            <a:r>
              <a:rPr lang="de-DE" dirty="0"/>
              <a:t> ‘a rotten </a:t>
            </a:r>
            <a:r>
              <a:rPr lang="de-DE" dirty="0" err="1"/>
              <a:t>person</a:t>
            </a:r>
            <a:r>
              <a:rPr lang="de-DE" dirty="0"/>
              <a:t>‘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441813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6121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46061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779908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699988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620737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993335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0422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083951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7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62127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8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7086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blog.meain.io/2023/what-is-in-dot-git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676441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8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71293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8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340940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8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840218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reenshots </a:t>
            </a:r>
            <a:r>
              <a:rPr lang="de-DE" dirty="0" err="1"/>
              <a:t>crea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https://highlight.hohli.com/?language=yaml&amp;theme=xcode&amp;numbers=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8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5445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8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690362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8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692828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8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75340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8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134668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C66558-769A-C14B-B802-0534D51BF2A0}" type="slidenum">
              <a:rPr lang="de-DE" smtClean="0"/>
              <a:pPr/>
              <a:t>9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ERTRAUL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1062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.</a:t>
            </a:r>
            <a:r>
              <a:rPr lang="de-DE" dirty="0" err="1"/>
              <a:t>gitignore</a:t>
            </a:r>
            <a:r>
              <a:rPr lang="de-DE" dirty="0"/>
              <a:t>: </a:t>
            </a:r>
            <a:r>
              <a:rPr lang="en-US" dirty="0"/>
              <a:t>Ignore build artifacts, temporary files, or sensitive information that shouldn't be committed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8476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8850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.</a:t>
            </a:r>
            <a:r>
              <a:rPr lang="de-DE" dirty="0" err="1"/>
              <a:t>gitignore</a:t>
            </a:r>
            <a:r>
              <a:rPr lang="de-DE" dirty="0"/>
              <a:t>: </a:t>
            </a:r>
            <a:r>
              <a:rPr lang="en-US" dirty="0"/>
              <a:t>Ignore build artifacts, temporary files, or sensitive information that shouldn't be committed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0600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.</a:t>
            </a:r>
            <a:r>
              <a:rPr lang="de-DE" dirty="0" err="1"/>
              <a:t>gitignore</a:t>
            </a:r>
            <a:r>
              <a:rPr lang="de-DE" dirty="0"/>
              <a:t>: </a:t>
            </a:r>
            <a:r>
              <a:rPr lang="en-US" dirty="0"/>
              <a:t>Ignore build artifacts, temporary files, or sensitive information that shouldn't be committed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39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DBFB7C-7FD5-694A-9FCA-ADD011B95874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6362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jpe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8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8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8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8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1.xml"/><Relationship Id="rId7" Type="http://schemas.openxmlformats.org/officeDocument/2006/relationships/image" Target="../media/image20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8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oleObject" Target="../embeddings/oleObject5.bin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jpe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8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8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8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8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8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8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8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8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4.xml"/><Relationship Id="rId7" Type="http://schemas.openxmlformats.org/officeDocument/2006/relationships/image" Target="../media/image21.jpe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2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oleObject" Target="../embeddings/oleObject7.bin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0.jpe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8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8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tags" Target="../tags/tag93.xml"/><Relationship Id="rId7" Type="http://schemas.openxmlformats.org/officeDocument/2006/relationships/image" Target="../media/image23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tags" Target="../tags/tag96.xml"/><Relationship Id="rId7" Type="http://schemas.openxmlformats.org/officeDocument/2006/relationships/image" Target="../media/image23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7.xml"/><Relationship Id="rId6" Type="http://schemas.openxmlformats.org/officeDocument/2006/relationships/image" Target="../media/image22.svg"/><Relationship Id="rId5" Type="http://schemas.openxmlformats.org/officeDocument/2006/relationships/image" Target="../media/image4.png"/><Relationship Id="rId4" Type="http://schemas.openxmlformats.org/officeDocument/2006/relationships/image" Target="../media/image17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100.xml"/><Relationship Id="rId7" Type="http://schemas.openxmlformats.org/officeDocument/2006/relationships/image" Target="../media/image8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1.bin"/><Relationship Id="rId10" Type="http://schemas.openxmlformats.org/officeDocument/2006/relationships/image" Target="../media/image22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103.xml"/><Relationship Id="rId7" Type="http://schemas.openxmlformats.org/officeDocument/2006/relationships/image" Target="../media/image8.pn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2.bin"/><Relationship Id="rId10" Type="http://schemas.openxmlformats.org/officeDocument/2006/relationships/image" Target="../media/image22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8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8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8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oleObject" Target="../embeddings/oleObject9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1.jpe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8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17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8.png"/><Relationship Id="rId3" Type="http://schemas.openxmlformats.org/officeDocument/2006/relationships/tags" Target="../tags/tag119.xml"/><Relationship Id="rId7" Type="http://schemas.openxmlformats.org/officeDocument/2006/relationships/image" Target="../media/image23.png"/><Relationship Id="rId12" Type="http://schemas.openxmlformats.org/officeDocument/2006/relationships/image" Target="../media/image22.sv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7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27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8.png"/><Relationship Id="rId3" Type="http://schemas.openxmlformats.org/officeDocument/2006/relationships/tags" Target="../tags/tag122.xml"/><Relationship Id="rId7" Type="http://schemas.openxmlformats.org/officeDocument/2006/relationships/image" Target="../media/image23.png"/><Relationship Id="rId12" Type="http://schemas.openxmlformats.org/officeDocument/2006/relationships/image" Target="../media/image22.sv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7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27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8.jpe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13" Type="http://schemas.openxmlformats.org/officeDocument/2006/relationships/image" Target="../media/image22.svg"/><Relationship Id="rId3" Type="http://schemas.openxmlformats.org/officeDocument/2006/relationships/tags" Target="../tags/tag125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image" Target="../media/image30.svg"/><Relationship Id="rId5" Type="http://schemas.openxmlformats.org/officeDocument/2006/relationships/tags" Target="../tags/tag127.xml"/><Relationship Id="rId15" Type="http://schemas.openxmlformats.org/officeDocument/2006/relationships/oleObject" Target="../embeddings/oleObject51.bin"/><Relationship Id="rId10" Type="http://schemas.openxmlformats.org/officeDocument/2006/relationships/image" Target="../media/image29.png"/><Relationship Id="rId4" Type="http://schemas.openxmlformats.org/officeDocument/2006/relationships/tags" Target="../tags/tag126.xml"/><Relationship Id="rId9" Type="http://schemas.openxmlformats.org/officeDocument/2006/relationships/image" Target="../media/image2.emf"/><Relationship Id="rId14" Type="http://schemas.openxmlformats.org/officeDocument/2006/relationships/image" Target="../media/image8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8.pn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8.png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1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9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7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oleObject" Target="../embeddings/oleObject11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3.jpeg"/><Relationship Id="rId11" Type="http://schemas.openxmlformats.org/officeDocument/2006/relationships/image" Target="../media/image8.png"/><Relationship Id="rId5" Type="http://schemas.openxmlformats.org/officeDocument/2006/relationships/image" Target="../media/image12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image" Target="../media/image19.png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image" Target="../media/image2.emf"/><Relationship Id="rId17" Type="http://schemas.openxmlformats.org/officeDocument/2006/relationships/oleObject" Target="../embeddings/oleObject58.bin"/><Relationship Id="rId2" Type="http://schemas.openxmlformats.org/officeDocument/2006/relationships/tags" Target="../tags/tag141.xml"/><Relationship Id="rId16" Type="http://schemas.openxmlformats.org/officeDocument/2006/relationships/image" Target="../media/image8.png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144.xml"/><Relationship Id="rId15" Type="http://schemas.openxmlformats.org/officeDocument/2006/relationships/image" Target="../media/image34.sv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image" Target="../media/image33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9.xml"/><Relationship Id="rId4" Type="http://schemas.openxmlformats.org/officeDocument/2006/relationships/image" Target="../media/image17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0.xml"/><Relationship Id="rId4" Type="http://schemas.openxmlformats.org/officeDocument/2006/relationships/image" Target="../media/image17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1.xml"/><Relationship Id="rId4" Type="http://schemas.openxmlformats.org/officeDocument/2006/relationships/image" Target="../media/image17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2.xml"/><Relationship Id="rId4" Type="http://schemas.openxmlformats.org/officeDocument/2006/relationships/image" Target="../media/image17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3.xml"/><Relationship Id="rId4" Type="http://schemas.openxmlformats.org/officeDocument/2006/relationships/image" Target="../media/image17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4.xml"/><Relationship Id="rId4" Type="http://schemas.openxmlformats.org/officeDocument/2006/relationships/image" Target="../media/image17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4" Type="http://schemas.openxmlformats.org/officeDocument/2006/relationships/image" Target="../media/image17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6.xml"/><Relationship Id="rId4" Type="http://schemas.openxmlformats.org/officeDocument/2006/relationships/image" Target="../media/image1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4" Type="http://schemas.openxmlformats.org/officeDocument/2006/relationships/image" Target="../media/image17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2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8.xml"/><Relationship Id="rId4" Type="http://schemas.openxmlformats.org/officeDocument/2006/relationships/image" Target="../media/image17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4" Type="http://schemas.openxmlformats.org/officeDocument/2006/relationships/image" Target="../media/image17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0.xml"/><Relationship Id="rId4" Type="http://schemas.openxmlformats.org/officeDocument/2006/relationships/image" Target="../media/image17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5" Type="http://schemas.openxmlformats.org/officeDocument/2006/relationships/image" Target="../media/image35.png"/><Relationship Id="rId4" Type="http://schemas.openxmlformats.org/officeDocument/2006/relationships/image" Target="../media/image1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.xml"/><Relationship Id="rId7" Type="http://schemas.openxmlformats.org/officeDocument/2006/relationships/image" Target="../media/image18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4.xml"/><Relationship Id="rId7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281D899-7E20-4C1D-8B23-1FA9E89CE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672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281D899-7E20-4C1D-8B23-1FA9E89CE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DF371009-860B-964F-824D-C563AAC5CC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9" y="-1"/>
            <a:ext cx="9141291" cy="51435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D95491E-2FE6-9D4F-A36F-5292297A47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6491" y="-7145"/>
            <a:ext cx="3867573" cy="5151693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1B5D3FD2-2943-CF45-B490-1C89D9BC9311}"/>
              </a:ext>
            </a:extLst>
          </p:cNvPr>
          <p:cNvSpPr/>
          <p:nvPr userDrawn="1"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latin typeface="Source Sans Pro" charset="0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2AD3CA0A-40FF-4778-B3C1-E15F3AFBED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5" y="2463210"/>
            <a:ext cx="3278059" cy="1750979"/>
          </a:xfr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de-DE" sz="2400">
                <a:solidFill>
                  <a:srgbClr val="009A32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pPr marL="0" lvl="0" defTabSz="914400">
              <a:lnSpc>
                <a:spcPct val="90000"/>
              </a:lnSpc>
            </a:pPr>
            <a:r>
              <a:rPr lang="de-DE" dirty="0"/>
              <a:t>Mastertitelformat bearbeiten mit Text, bis zu drei Zeil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25255E0A-167C-144C-80ED-54C981307B1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B241143-7146-4268-91B2-C9578B8D51F1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3" name="Flussdiagramm: Daten 1">
              <a:extLst>
                <a:ext uri="{FF2B5EF4-FFF2-40B4-BE49-F238E27FC236}">
                  <a16:creationId xmlns:a16="http://schemas.microsoft.com/office/drawing/2014/main" id="{D80389BC-1625-4CC5-AA6A-F6701EFAF7CA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420EFFB3-32F7-42E9-A0A2-214D5794FCE5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EF0FBAEA-A7F1-4C6C-A66F-75EE5E391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8F8A92-C06C-456F-A30A-FE4B6819F6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4214813"/>
            <a:ext cx="3278187" cy="4587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2pPr>
            <a:lvl3pPr marL="98550" indent="0">
              <a:buFontTx/>
              <a:buNone/>
              <a:defRPr/>
            </a:lvl3pPr>
            <a:lvl4pPr marL="233550" indent="0">
              <a:buFontTx/>
              <a:buNone/>
              <a:defRPr/>
            </a:lvl4pPr>
            <a:lvl5pPr marL="638550" indent="0">
              <a:buFontTx/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  <a:p>
            <a:pPr lvl="1"/>
            <a:endParaRPr lang="de-DE" dirty="0"/>
          </a:p>
        </p:txBody>
      </p:sp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498BA8D3-5E0E-4C73-94C0-306E307E4F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323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92" imgH="591" progId="TCLayout.ActiveDocument.1">
                  <p:embed/>
                </p:oleObj>
              </mc:Choice>
              <mc:Fallback>
                <p:oleObj name="think-cell Folie" r:id="rId12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498BA8D3-5E0E-4C73-94C0-306E307E4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Grafik 23">
            <a:extLst>
              <a:ext uri="{FF2B5EF4-FFF2-40B4-BE49-F238E27FC236}">
                <a16:creationId xmlns:a16="http://schemas.microsoft.com/office/drawing/2014/main" id="{635810A9-F14E-45D1-B463-5922166E4B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D97703B-E53C-4166-885F-8DCF606A1183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97D18AFE-E31E-4324-B46A-60DC71F395BB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F6AD81B-CC9D-4F66-9CEA-7CF08F1A1744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5E96F326-3C4B-45B0-98C1-0154529760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890F756-E95D-435C-BCA2-9A10C9805EF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9E94BF4-329E-4A0F-8AB8-8F311DE1C94D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1B57F6A-80D6-4D16-88BC-EA4AA928434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120EC38-3551-47EB-93AD-0A640DB44EC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0509164"/>
      </p:ext>
    </p:extLst>
  </p:cSld>
  <p:clrMapOvr>
    <a:masterClrMapping/>
  </p:clrMapOvr>
  <p:transition spd="slow" advClick="0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288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4AD69107-69ED-4357-8FC3-9540CB76C4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172949-0291-5446-AEE9-63D492B2E07B}"/>
              </a:ext>
            </a:extLst>
          </p:cNvPr>
          <p:cNvSpPr/>
          <p:nvPr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latin typeface="Source Sans Pro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4CE52E0-D1C8-4817-B939-85D4EE484CA0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9" name="Flussdiagramm: Daten 1">
              <a:extLst>
                <a:ext uri="{FF2B5EF4-FFF2-40B4-BE49-F238E27FC236}">
                  <a16:creationId xmlns:a16="http://schemas.microsoft.com/office/drawing/2014/main" id="{729D0C50-D0B0-4A12-82BF-D47B2F3465BE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CF5EAE1D-69B1-401D-9921-E4EB57C9C850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ADD07A8E-A3C4-475E-A2DF-3508A10C09D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85E12BB-043F-4FC9-BC1A-06D7D9D92E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36AEE42-A3D0-49BD-B782-0A8B72249FF4}"/>
              </a:ext>
            </a:extLst>
          </p:cNvPr>
          <p:cNvSpPr/>
          <p:nvPr userDrawn="1"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latin typeface="Source Sans Pro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2D201D3-D283-4828-B643-C3E61E18A290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6" name="Flussdiagramm: Daten 1">
              <a:extLst>
                <a:ext uri="{FF2B5EF4-FFF2-40B4-BE49-F238E27FC236}">
                  <a16:creationId xmlns:a16="http://schemas.microsoft.com/office/drawing/2014/main" id="{ECE619D0-B62D-4DD0-8805-DA3659B9650E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453CAF3C-3406-4489-A11F-DDFAC02DF804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85A23257-FA3F-465B-AD97-CAB08EEB8B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A1F0A7-F881-406E-B1EE-74E89959A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12EAA-A836-48E2-A8AA-008F6A393F31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79583-9400-4912-B746-366256463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CEAE757-BF35-4FF4-A6FA-AD44195AE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674858"/>
      </p:ext>
    </p:extLst>
  </p:cSld>
  <p:clrMapOvr>
    <a:masterClrMapping/>
  </p:clrMapOvr>
  <p:transition spd="slow" advClick="0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mit 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319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4AD69107-69ED-4357-8FC3-9540CB76C4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1A87D97-FDB8-4786-8447-6AC2564A9B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882466E-D5FB-456E-830B-10ECCCC6A880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9" name="Flussdiagramm: Daten 1">
              <a:extLst>
                <a:ext uri="{FF2B5EF4-FFF2-40B4-BE49-F238E27FC236}">
                  <a16:creationId xmlns:a16="http://schemas.microsoft.com/office/drawing/2014/main" id="{E80CD267-CFA0-46FD-852A-9526744101C0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89BC05C5-B0BE-45AE-95E4-71ED882A3414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F94CA82F-25BE-4E66-8977-CB5AA796F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7BD262D7-A0BC-44E1-BC72-292DD4F3B2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5BACF163-3828-418F-805C-6F3984EDB953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7" name="Flussdiagramm: Daten 1">
              <a:extLst>
                <a:ext uri="{FF2B5EF4-FFF2-40B4-BE49-F238E27FC236}">
                  <a16:creationId xmlns:a16="http://schemas.microsoft.com/office/drawing/2014/main" id="{D780661F-7897-482F-8F34-D53B7CCE9EDB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63A3D2A1-B69F-489D-965E-E0B73648CE83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ED35E3AE-1EC4-48B1-AC8C-8DEF6ABEB3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0822A90-214B-4E2C-B3E4-E764CC18589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6462C1A-8642-45E2-9495-103944F3ED85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41DB9A1-2F36-45F7-B9D3-61E3564880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07F2EC-4E4A-477E-821B-0F747328DC5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7293908"/>
      </p:ext>
    </p:extLst>
  </p:cSld>
  <p:clrMapOvr>
    <a:masterClrMapping/>
  </p:clrMapOvr>
  <p:transition spd="slow" advClick="0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otschaft mit 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5664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4AD69107-69ED-4357-8FC3-9540CB76C4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1A87D97-FDB8-4786-8447-6AC2564A9B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882466E-D5FB-456E-830B-10ECCCC6A880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9" name="Flussdiagramm: Daten 1">
              <a:extLst>
                <a:ext uri="{FF2B5EF4-FFF2-40B4-BE49-F238E27FC236}">
                  <a16:creationId xmlns:a16="http://schemas.microsoft.com/office/drawing/2014/main" id="{E80CD267-CFA0-46FD-852A-9526744101C0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89BC05C5-B0BE-45AE-95E4-71ED882A3414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F94CA82F-25BE-4E66-8977-CB5AA796F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6FAA0449-CDA5-49E2-9C91-4FE5B1240E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96CFDB5-68A5-4618-BC5A-EB6827DF8CDB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7" name="Flussdiagramm: Daten 1">
              <a:extLst>
                <a:ext uri="{FF2B5EF4-FFF2-40B4-BE49-F238E27FC236}">
                  <a16:creationId xmlns:a16="http://schemas.microsoft.com/office/drawing/2014/main" id="{A5700268-8B10-44A1-A4BA-D64371FD439D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74853A02-7EF6-43D6-A0B1-63D0C48E4B37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BB7FAE7D-0282-4600-9C92-4DFCC3E598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AE0555-A885-42BD-9342-096D57C7CA0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5164DC6-04D4-4139-B062-0152F09493C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06CE3-871C-4B9D-919D-ED24722AA6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E6B6A6-0718-4273-8806-B43D21F088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7994"/>
      </p:ext>
    </p:extLst>
  </p:cSld>
  <p:clrMapOvr>
    <a:masterClrMapping/>
  </p:clrMapOvr>
  <p:transition spd="slow" advClick="0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Inhalt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9116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0820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5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0450"/>
            <a:ext cx="8568001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9489F300-8A29-4D63-903E-E15AD445867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9D038DE-13F5-4ACE-BC81-731554D319F2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0" name="Flussdiagramm: Daten 1">
              <a:extLst>
                <a:ext uri="{FF2B5EF4-FFF2-40B4-BE49-F238E27FC236}">
                  <a16:creationId xmlns:a16="http://schemas.microsoft.com/office/drawing/2014/main" id="{3D08C44F-6C6F-433E-9478-EE80F797BB19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8A6210E8-2BCE-42DC-B003-A88515CD7E41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419A4642-F901-40B0-A43B-764D9F24E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321103A7-4BFA-4044-B773-4AAF781C45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22F9646B-7EA5-45CC-8F96-189B80D75B85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5" name="Flussdiagramm: Daten 1">
              <a:extLst>
                <a:ext uri="{FF2B5EF4-FFF2-40B4-BE49-F238E27FC236}">
                  <a16:creationId xmlns:a16="http://schemas.microsoft.com/office/drawing/2014/main" id="{CB0FC9D2-4C2A-4913-B0B9-6E377B77C742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FF37416D-4515-426A-A6FE-E74539E51C2C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085B39DE-BFCC-4305-B799-4825F184E2E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9B2048-AD5E-4F91-B28F-ED56D43B9E7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F8FE93F-F7F9-400D-8EA1-6DFCC3B0F05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1B4D917-8454-4A3B-8D45-551D4B6EF5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537A3-105B-44E8-88A9-3535B17E59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8310602"/>
      </p:ext>
    </p:extLst>
  </p:cSld>
  <p:clrMapOvr>
    <a:masterClrMapping/>
  </p:clrMapOvr>
  <p:transition spd="slow" advClick="0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Inhalt Notizen 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44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0820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5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0450"/>
            <a:ext cx="8568001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9489F300-8A29-4D63-903E-E15AD445867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62E6076-EBC9-4E8E-84E4-EC56FC6881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03A1F84E-BA16-42D0-9EA2-EC9533FAC66A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3" name="Flussdiagramm: Daten 1">
              <a:extLst>
                <a:ext uri="{FF2B5EF4-FFF2-40B4-BE49-F238E27FC236}">
                  <a16:creationId xmlns:a16="http://schemas.microsoft.com/office/drawing/2014/main" id="{99644634-4470-4428-BBF9-5AA19263C3BE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051B0298-E5EB-481A-98D1-A429CD6DD250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B8DB89D6-7F71-4442-B4F2-7173A428FC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BB843A72-F5F7-4D17-B3B6-8EC6ADD246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41F846B-B13A-4BAA-B30E-22DD4E62D555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1" name="Flussdiagramm: Daten 1">
              <a:extLst>
                <a:ext uri="{FF2B5EF4-FFF2-40B4-BE49-F238E27FC236}">
                  <a16:creationId xmlns:a16="http://schemas.microsoft.com/office/drawing/2014/main" id="{4DB1C0D6-1BB2-4352-B9DC-1E400EEA07AB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9E27A2F-78F2-4A0A-BA5D-519E8C4D2BDA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611D3FA1-81A5-4B2B-B7E0-7DDB1A072D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940DD2-1421-4999-A401-24B0C2B52B7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79E838C-6144-4C9E-B145-C8B2B160621C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0CEE7B4-9CE4-484C-8321-AAC75E0A996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55B5984-F3CC-48DA-A88C-7D644230AE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1595446"/>
      </p:ext>
    </p:extLst>
  </p:cSld>
  <p:clrMapOvr>
    <a:masterClrMapping/>
  </p:clrMapOvr>
  <p:transition spd="slow" advClick="0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InhaltNum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094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719" y="1051763"/>
            <a:ext cx="8568001" cy="35448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6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0D38510D-926F-47CD-9289-DA16AC33562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43170C5-5998-45D7-8188-6397B6A38568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0" name="Flussdiagramm: Daten 1">
              <a:extLst>
                <a:ext uri="{FF2B5EF4-FFF2-40B4-BE49-F238E27FC236}">
                  <a16:creationId xmlns:a16="http://schemas.microsoft.com/office/drawing/2014/main" id="{68687946-4782-4F58-AB44-ED52FC1FAB6E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252E058A-63BA-4CE3-AF03-0328A502AA7A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37661EB4-1F55-49D8-AD07-D59F10B5B68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92AE9F7D-E847-4E75-B60E-1C6B8499DA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7B6B2A90-AA87-4628-A06C-7DB0E0B92205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8" name="Flussdiagramm: Daten 1">
              <a:extLst>
                <a:ext uri="{FF2B5EF4-FFF2-40B4-BE49-F238E27FC236}">
                  <a16:creationId xmlns:a16="http://schemas.microsoft.com/office/drawing/2014/main" id="{6E6674A2-DD3B-4445-A832-DCB347C3C4B6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64DF41D8-5B0A-4B1A-BC42-469BA89A834A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972E2500-FF55-4D68-B24F-42B56FB1A9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BAB08-53AE-4DA7-8488-FED328E4A6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F2CE888-5645-4AE2-A8E2-B79911FF338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D2F2C6-BA8F-4ABC-B56B-8C174F24B90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A553E6-F7E8-41B6-AA45-52C6C18834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2160892"/>
      </p:ext>
    </p:extLst>
  </p:cSld>
  <p:clrMapOvr>
    <a:masterClrMapping/>
  </p:clrMapOvr>
  <p:transition spd="slow" advClick="0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InhaltNum Notizen 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598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0820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719" y="1051763"/>
            <a:ext cx="8568001" cy="35484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6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0D38510D-926F-47CD-9289-DA16AC33562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85CACB67-7A3E-4F31-B677-764B2578B2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45804D1-4FEC-4AD3-8B84-2EBF034D89C5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2" name="Flussdiagramm: Daten 1">
              <a:extLst>
                <a:ext uri="{FF2B5EF4-FFF2-40B4-BE49-F238E27FC236}">
                  <a16:creationId xmlns:a16="http://schemas.microsoft.com/office/drawing/2014/main" id="{FC4D7669-54AE-41CF-B777-F2E32CE9E874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F064BBC5-3B62-4376-9C3F-D0A743A59438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C216F7A5-1754-46E6-9900-3E908DC573B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30B55BE4-74CC-4AFC-A5F1-74D6814F7D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9448F8F-B0AD-492A-ABA5-C20F99AE5B1E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5" name="Flussdiagramm: Daten 1">
              <a:extLst>
                <a:ext uri="{FF2B5EF4-FFF2-40B4-BE49-F238E27FC236}">
                  <a16:creationId xmlns:a16="http://schemas.microsoft.com/office/drawing/2014/main" id="{C508470F-28BC-402E-9890-E8FE72AF75EF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5BF85734-6A4B-47A2-8EA0-B540A76E54B9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BA0A5937-B469-4A15-AD2A-74F5A5DE07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3D0772-471D-4AAF-B351-176164477B7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3BBFFDCF-74B0-4B5D-885C-D04D1BD22FF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D5113F5-8152-4BEA-85D7-8326CC4DED8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830C2E-B949-4FA6-B984-B99A77E7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1775616"/>
      </p:ext>
    </p:extLst>
  </p:cSld>
  <p:clrMapOvr>
    <a:masterClrMapping/>
  </p:clrMapOvr>
  <p:transition spd="slow" advClick="0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tertitel Inhalt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363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0820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idx="10"/>
          </p:nvPr>
        </p:nvSpPr>
        <p:spPr>
          <a:xfrm>
            <a:off x="324000" y="1059657"/>
            <a:ext cx="8568000" cy="35996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507278"/>
            <a:ext cx="8568001" cy="309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45EE390C-D250-46DC-99E9-277C63A6155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07AD6D8E-BD68-4320-8F7B-ADDA359CCD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24369E6-BA59-4546-94EB-D0D45C816FB5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7" name="Flussdiagramm: Daten 1">
              <a:extLst>
                <a:ext uri="{FF2B5EF4-FFF2-40B4-BE49-F238E27FC236}">
                  <a16:creationId xmlns:a16="http://schemas.microsoft.com/office/drawing/2014/main" id="{C5871215-81F0-46F5-A5E0-6CDD63ADBAFB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6AD3840E-DBDD-42D0-A4E5-FF664F42A4DF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A84BB025-E64F-4DB0-A5A5-D2103FDA1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AB358FF5-53E2-4A2F-9C55-355879582F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647A0B41-F000-4012-82DB-E10062138DB3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5" name="Flussdiagramm: Daten 1">
              <a:extLst>
                <a:ext uri="{FF2B5EF4-FFF2-40B4-BE49-F238E27FC236}">
                  <a16:creationId xmlns:a16="http://schemas.microsoft.com/office/drawing/2014/main" id="{E25865D7-D21B-4F1A-ACDC-1459922491FB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ABD9C580-8B3B-484E-8EA7-5E4E80408A94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9CE65E93-1449-42DC-9EA6-354C1D27C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F66BDC-EC7C-47DB-B003-611D344FB74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2206017-6ABB-42E0-8D3B-366378D20B8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A14B70-7E95-4EFC-9AC4-186D40C8E7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D48B93-A33C-476C-841D-AEC1C61E38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5293956"/>
      </p:ext>
    </p:extLst>
  </p:cSld>
  <p:clrMapOvr>
    <a:masterClrMapping/>
  </p:clrMapOvr>
  <p:transition spd="slow" advClick="0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tertitel InhaltNum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006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0820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idx="10"/>
          </p:nvPr>
        </p:nvSpPr>
        <p:spPr>
          <a:xfrm>
            <a:off x="324000" y="1059657"/>
            <a:ext cx="8568000" cy="35996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507278"/>
            <a:ext cx="8568001" cy="309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6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648AD6EC-23FE-4F35-B905-F254D35A61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03CCC95-23D8-4EC2-B7BC-F0892260AD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316" y="31740"/>
            <a:ext cx="259338" cy="226054"/>
          </a:xfrm>
          <a:prstGeom prst="rect">
            <a:avLst/>
          </a:prstGeom>
        </p:spPr>
      </p:pic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1AAA8D07-CE6F-4F90-918E-33B00EE134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F5B18E83-459F-4291-B9B5-6604C199CB6D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9" name="Flussdiagramm: Daten 1">
              <a:extLst>
                <a:ext uri="{FF2B5EF4-FFF2-40B4-BE49-F238E27FC236}">
                  <a16:creationId xmlns:a16="http://schemas.microsoft.com/office/drawing/2014/main" id="{9D305B4B-0B60-4136-AD1D-F01946C9CAF3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BF882F73-48CE-440B-9FD4-2A53F2A41305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AF104F9B-56E4-4D18-914C-D9E657495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79691FB1-3E35-4A78-A90D-EE57FD21CD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5C04C7DD-4DDB-4AED-BFA4-D66B9DBF31F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316" y="31740"/>
            <a:ext cx="259338" cy="226054"/>
          </a:xfrm>
          <a:prstGeom prst="rect">
            <a:avLst/>
          </a:prstGeom>
        </p:spPr>
      </p:pic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58E22DC1-6D6D-4845-AE07-7035CD0CB3FF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6" name="Flussdiagramm: Daten 1">
              <a:extLst>
                <a:ext uri="{FF2B5EF4-FFF2-40B4-BE49-F238E27FC236}">
                  <a16:creationId xmlns:a16="http://schemas.microsoft.com/office/drawing/2014/main" id="{376DC835-BD92-4C5C-A000-F8743A896DCA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98DA9CC4-F055-47FA-B6BD-942161E1E5B4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A259C598-F845-4235-A119-F323160616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9A74B46-7E88-4028-9E7B-BBD16E1D7BD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7F73D47-185B-4E27-93E7-EBCB69CEA38A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7F8E2E-F7DC-4E7C-AEF8-AAE767C3A6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DBE74F-BE2B-4B87-87C0-E446D7AF22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5655871"/>
      </p:ext>
    </p:extLst>
  </p:cSld>
  <p:clrMapOvr>
    <a:masterClrMapping/>
  </p:clrMapOvr>
  <p:transition spd="slow" advClick="0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otschaft Inhalt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9891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44301" cy="648000"/>
          </a:xfrm>
          <a:noFill/>
        </p:spPr>
        <p:txBody>
          <a:bodyPr vert="horz">
            <a:normAutofit/>
          </a:bodyPr>
          <a:lstStyle>
            <a:lvl1pPr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0450"/>
            <a:ext cx="8568001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292E0740-8EA6-474D-BFB5-E2812FAD9C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EDE6F7E-DFA5-334A-A7D2-35D7B11B848D}"/>
              </a:ext>
            </a:extLst>
          </p:cNvPr>
          <p:cNvSpPr/>
          <p:nvPr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BACD9EB3-B0A1-425F-859E-B8CC4EBB8E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05E1E637-7443-4CFA-8B66-12AEE5D90052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6" name="Flussdiagramm: Daten 1">
              <a:extLst>
                <a:ext uri="{FF2B5EF4-FFF2-40B4-BE49-F238E27FC236}">
                  <a16:creationId xmlns:a16="http://schemas.microsoft.com/office/drawing/2014/main" id="{62DEAF5A-D216-4CA3-B140-37D04CDC5B48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8B320C0E-7794-4B5B-84DF-B8F046D5B318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88A3CF1E-CFDF-42C9-8B07-9DF37503086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11656461-E6D2-456F-B386-91D497FA5D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8D793DC-59FE-4FD4-9C29-9D88E882374B}"/>
              </a:ext>
            </a:extLst>
          </p:cNvPr>
          <p:cNvSpPr/>
          <p:nvPr userDrawn="1"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F18A848-7588-44E3-8A9E-F992FD735387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4" name="Flussdiagramm: Daten 1">
              <a:extLst>
                <a:ext uri="{FF2B5EF4-FFF2-40B4-BE49-F238E27FC236}">
                  <a16:creationId xmlns:a16="http://schemas.microsoft.com/office/drawing/2014/main" id="{2D935350-BE7E-43C0-92FF-4DA315FACE49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E1F4E377-DCC7-49C3-AB5F-38BB0AFC1F34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0D0A79EF-F8AC-4BD7-A361-AAB9522D4F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9E47A4-EFE4-490D-86A0-FCC0D55463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8C0B62-CAE0-47FF-962F-F23CA4C1D7C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F8F6AD-C2D3-42B8-97C4-78B5F211D2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8144254"/>
      </p:ext>
    </p:extLst>
  </p:cSld>
  <p:clrMapOvr>
    <a:masterClrMapping/>
  </p:clrMapOvr>
  <p:transition spd="slow" advClick="0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B3F1B08-D6A5-4E95-9E9F-1CA27C832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6210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B3F1B08-D6A5-4E95-9E9F-1CA27C8328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9365A842-68B1-564C-9DB3-6B3CB62E1FC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316"/>
            <a:ext cx="9144000" cy="51435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5D61BED-6393-D641-8718-8AFBA82CA8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3494" y="-1"/>
            <a:ext cx="3864576" cy="515169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8F3A326D-DABA-4846-AD7E-BBCADC3FE80D}"/>
              </a:ext>
            </a:extLst>
          </p:cNvPr>
          <p:cNvSpPr/>
          <p:nvPr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latin typeface="Source Sans Pro" charset="0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E748FE32-C95E-4043-A229-83FE5A87A14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sp>
        <p:nvSpPr>
          <p:cNvPr id="25" name="Titel 1">
            <a:extLst>
              <a:ext uri="{FF2B5EF4-FFF2-40B4-BE49-F238E27FC236}">
                <a16:creationId xmlns:a16="http://schemas.microsoft.com/office/drawing/2014/main" id="{03D1F55E-683B-40CF-8222-16F91C96A3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2463210"/>
            <a:ext cx="3160034" cy="1750979"/>
          </a:xfr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de-DE" sz="2400">
                <a:solidFill>
                  <a:srgbClr val="009B3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pPr marL="0" lvl="0" defTabSz="914400">
              <a:lnSpc>
                <a:spcPct val="90000"/>
              </a:lnSpc>
            </a:pPr>
            <a:r>
              <a:rPr lang="de-DE" dirty="0"/>
              <a:t>Mastertitelformat bearbeiten mit Text, bis zu drei Zeilen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D0AD1035-6295-4638-AED0-09B1C3C50A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4214813"/>
            <a:ext cx="3278187" cy="4587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2pPr>
            <a:lvl3pPr marL="98550" indent="0">
              <a:buFontTx/>
              <a:buNone/>
              <a:defRPr/>
            </a:lvl3pPr>
            <a:lvl4pPr marL="233550" indent="0">
              <a:buFontTx/>
              <a:buNone/>
              <a:defRPr/>
            </a:lvl4pPr>
            <a:lvl5pPr marL="638550" indent="0">
              <a:buFontTx/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  <a:p>
            <a:pPr lvl="1"/>
            <a:endParaRPr lang="de-DE" dirty="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6CCE772-360F-4CBD-AEBA-77AC251104E2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2" name="Flussdiagramm: Daten 1">
              <a:extLst>
                <a:ext uri="{FF2B5EF4-FFF2-40B4-BE49-F238E27FC236}">
                  <a16:creationId xmlns:a16="http://schemas.microsoft.com/office/drawing/2014/main" id="{E853A044-002D-461A-BB21-CC2FD7554B9C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E649B278-79CF-4358-BDB1-72A35B4AA977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3E5C6EDC-7F44-4EA4-9027-9A840138E2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FC58E4E4-09E7-42CB-A5C1-044FD43F9A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314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92" imgH="591" progId="TCLayout.ActiveDocument.1">
                  <p:embed/>
                </p:oleObj>
              </mc:Choice>
              <mc:Fallback>
                <p:oleObj name="think-cell Folie" r:id="rId12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FC58E4E4-09E7-42CB-A5C1-044FD43F9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>
            <a:extLst>
              <a:ext uri="{FF2B5EF4-FFF2-40B4-BE49-F238E27FC236}">
                <a16:creationId xmlns:a16="http://schemas.microsoft.com/office/drawing/2014/main" id="{22A3A33F-834F-4DB6-B676-D1479E0D261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1189CE2F-3360-457B-9188-5E10F3E6D18B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9" name="Flussdiagramm: Daten 1">
              <a:extLst>
                <a:ext uri="{FF2B5EF4-FFF2-40B4-BE49-F238E27FC236}">
                  <a16:creationId xmlns:a16="http://schemas.microsoft.com/office/drawing/2014/main" id="{0CA0919D-51D7-46EC-AF12-144389EAEE4C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D40F113B-E3B9-43CD-8DCD-055B8FCE66C5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03452719-0838-409D-BD57-0EA60FC958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55EE0FB-438A-4AE4-A1E3-AF093845B6F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14465E7-91B1-4EA3-9A14-7361C76375BE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3F143EC-64F7-47DD-B3EA-74C9E8C00A1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5EEDAC-C934-4746-A009-D92ECD3B047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221421"/>
      </p:ext>
    </p:extLst>
  </p:cSld>
  <p:clrMapOvr>
    <a:masterClrMapping/>
  </p:clrMapOvr>
  <p:transition spd="slow" advClick="0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otschaft InhaltNum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485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44301" cy="648000"/>
          </a:xfrm>
          <a:noFill/>
        </p:spPr>
        <p:txBody>
          <a:bodyPr vert="horz">
            <a:normAutofit/>
          </a:bodyPr>
          <a:lstStyle>
            <a:lvl1pPr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0450"/>
            <a:ext cx="8568001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6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D4F73F81-A76E-43F0-B0DA-617680C86D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46A3502-ED65-9944-996A-DC4A27851ABC}"/>
              </a:ext>
            </a:extLst>
          </p:cNvPr>
          <p:cNvSpPr/>
          <p:nvPr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41D814F6-1407-4FFB-92F1-3BA083218A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AFAA014-4039-4161-AB26-2C519934B2D1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6" name="Flussdiagramm: Daten 1">
              <a:extLst>
                <a:ext uri="{FF2B5EF4-FFF2-40B4-BE49-F238E27FC236}">
                  <a16:creationId xmlns:a16="http://schemas.microsoft.com/office/drawing/2014/main" id="{C2DA574A-841A-4C5D-A8FA-7EA7F67B5D5F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ABB7E68C-D6EF-44E6-AB44-D3538ED8C379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964D3ECA-F3B0-4EEC-8A65-701793B5405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F17D7031-91EC-49A4-8E9D-C35538081A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0FBC7C-AEE1-441C-8D46-6B8108225FDB}"/>
              </a:ext>
            </a:extLst>
          </p:cNvPr>
          <p:cNvSpPr/>
          <p:nvPr userDrawn="1"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778AD51-5607-4A80-999F-2291B444C983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4" name="Flussdiagramm: Daten 1">
              <a:extLst>
                <a:ext uri="{FF2B5EF4-FFF2-40B4-BE49-F238E27FC236}">
                  <a16:creationId xmlns:a16="http://schemas.microsoft.com/office/drawing/2014/main" id="{6082D29B-BAED-4A79-B39E-194563F4470D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AB20C14E-AC4C-4B22-A47F-C2E23A19F798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C60FC3B3-6936-4A24-BA3D-9FC44B3F40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696797-D7F8-4772-84BB-666C36FAEF4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733FE03-6EF3-4E9B-8E1E-9AC067E55E7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77EEB8-EFB5-4C97-BEC1-8236B8AAC6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7C2FF2-CAC2-42CC-B9BF-CFD3702310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5558238"/>
      </p:ext>
    </p:extLst>
  </p:cSld>
  <p:clrMapOvr>
    <a:masterClrMapping/>
  </p:clrMapOvr>
  <p:transition spd="slow" advClick="0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otschaft Untertitel Inhalt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527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0820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idx="10"/>
          </p:nvPr>
        </p:nvSpPr>
        <p:spPr>
          <a:xfrm>
            <a:off x="324000" y="1059657"/>
            <a:ext cx="8568000" cy="35996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99384"/>
            <a:ext cx="8568001" cy="31008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AFCB82B3-6B69-48B4-96E4-2D9F833D85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DC7D397A-CCE1-4604-AB78-82F8BBFCC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B18689E5-3476-40C7-A52F-F4F3C30897D2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6" name="Flussdiagramm: Daten 1">
              <a:extLst>
                <a:ext uri="{FF2B5EF4-FFF2-40B4-BE49-F238E27FC236}">
                  <a16:creationId xmlns:a16="http://schemas.microsoft.com/office/drawing/2014/main" id="{C9A59073-E7EF-4CB0-A970-508539316172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1E9B0D54-DCAB-4C48-9069-29E00F8A1A2B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AA0E2A1F-8D27-4C42-B6FE-7D908FC4B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7E9CB864-A472-4D78-8A8E-45230C8EFD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62E8BB1-B5BA-4FE8-8288-F762BC9543FD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3" name="Flussdiagramm: Daten 1">
              <a:extLst>
                <a:ext uri="{FF2B5EF4-FFF2-40B4-BE49-F238E27FC236}">
                  <a16:creationId xmlns:a16="http://schemas.microsoft.com/office/drawing/2014/main" id="{650F6910-3D91-45C1-91B0-D96FB63FEBF8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79D43C95-777B-4E5E-BB53-0D5E57BE153E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1EFA3001-9699-45FE-AF41-4497884660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24E277-5ABF-4A08-AB8B-C7BD55C619E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7C5FE9E-7A90-4377-B228-48E1301D070F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A4E5C7-DA72-49A4-8DA5-2E38026FD6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10F82F0-2F18-4AE5-9F4B-0AF1E6176E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8989290"/>
      </p:ext>
    </p:extLst>
  </p:cSld>
  <p:clrMapOvr>
    <a:masterClrMapping/>
  </p:clrMapOvr>
  <p:transition spd="slow" advClick="0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otschaft Untertitel InhaltNum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1971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idx="10"/>
          </p:nvPr>
        </p:nvSpPr>
        <p:spPr>
          <a:xfrm>
            <a:off x="324000" y="1059657"/>
            <a:ext cx="8568000" cy="35996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507278"/>
            <a:ext cx="8568001" cy="309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6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9AC9DADB-23F9-49C4-BDBC-C52561B92A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FCA8480C-9492-4B84-AAA0-89D73E562B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B117574-4B71-427F-BA76-A49BB05647AC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6" name="Flussdiagramm: Daten 1">
              <a:extLst>
                <a:ext uri="{FF2B5EF4-FFF2-40B4-BE49-F238E27FC236}">
                  <a16:creationId xmlns:a16="http://schemas.microsoft.com/office/drawing/2014/main" id="{B77B7562-5060-4E53-A89A-8034BC2C0FC4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89BEA137-9519-4028-811B-7DDB80C1C036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9A00AA67-3D7F-4B9C-AC0C-D2E31613A2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2AF849EE-48F6-4AAE-92D9-D5541DD432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2ED513CB-13F9-48D7-B967-89CA5FE2002A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3" name="Flussdiagramm: Daten 1">
              <a:extLst>
                <a:ext uri="{FF2B5EF4-FFF2-40B4-BE49-F238E27FC236}">
                  <a16:creationId xmlns:a16="http://schemas.microsoft.com/office/drawing/2014/main" id="{D6A6057A-CA25-4EE8-A880-A8BE84C6AC34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F5CDFE3A-63E7-448E-830E-C6D0B462CD93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00504E89-2FFC-451D-B4AA-1F9924F6C5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DFD9D1-428F-4051-82BE-E10E5E89D86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088FA2-254D-4E03-929E-26C392A3486D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CE8384-0038-432E-92A0-DE3627D3B4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E6DF5E-B8E9-4DA6-92DC-CD585B205D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8379026"/>
      </p:ext>
    </p:extLst>
  </p:cSld>
  <p:clrMapOvr>
    <a:masterClrMapping/>
  </p:clrMapOvr>
  <p:transition spd="slow" advClick="0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Inhalte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09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44301" cy="648000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5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2810"/>
            <a:ext cx="4248001" cy="353742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3" hasCustomPrompt="1"/>
          </p:nvPr>
        </p:nvSpPr>
        <p:spPr>
          <a:xfrm>
            <a:off x="4643718" y="1063817"/>
            <a:ext cx="4248001" cy="353742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BCC38155-F052-4D91-A0DB-8AF34622F0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6286AB5-4FC3-1544-859E-6610E3DD092A}"/>
              </a:ext>
            </a:extLst>
          </p:cNvPr>
          <p:cNvSpPr/>
          <p:nvPr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5EC953C3-0A13-461F-9E9E-4ECA47A3BC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89495B6B-936A-4681-B298-31B7E47F549F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BF1825EB-D9B5-494D-9837-7E6037C82C28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FD38F1B3-535E-4A75-8D1C-A74243E40F47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52B31278-681E-4734-A284-2CBF7FCAA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6849901B-5A4C-4F8B-8E9C-425C0790591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B2AD31E-637A-4858-A8A0-06FF9D741960}"/>
              </a:ext>
            </a:extLst>
          </p:cNvPr>
          <p:cNvSpPr/>
          <p:nvPr userDrawn="1"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C489DF0-DC1F-41E3-B648-7A96A294DD67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6" name="Flussdiagramm: Daten 1">
              <a:extLst>
                <a:ext uri="{FF2B5EF4-FFF2-40B4-BE49-F238E27FC236}">
                  <a16:creationId xmlns:a16="http://schemas.microsoft.com/office/drawing/2014/main" id="{2FB6EC55-E34D-4076-B6CC-5F91863A8B7F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DCCCC5F3-CB5E-4635-8B93-474822044C97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E62B72F9-3B40-4FF2-9937-55145757CA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383FDEA-8C60-4E6A-B52B-4DBF1D8A67B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3B7EA0-291C-475D-B556-9A4DDB94237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7EAFC4-9B61-45F7-A88E-0B04D613BF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38B594-FE9A-4A84-8DA3-A59ADC6D51E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6526219"/>
      </p:ext>
    </p:extLst>
  </p:cSld>
  <p:clrMapOvr>
    <a:masterClrMapping/>
  </p:clrMapOvr>
  <p:transition spd="slow" advClick="0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InhalteNum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61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23999" y="324000"/>
            <a:ext cx="8240821" cy="648000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0450"/>
            <a:ext cx="4248001" cy="353978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6" hasCustomPrompt="1"/>
          </p:nvPr>
        </p:nvSpPr>
        <p:spPr>
          <a:xfrm>
            <a:off x="4643718" y="1060450"/>
            <a:ext cx="4248001" cy="353978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981A5566-4EE9-4916-BEF3-FC5C10482C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853BDCEA-804D-412F-BC8F-4793F0BB25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6E2B435-6B11-4DC9-8385-8B320856F46C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46129277-D017-4093-83C9-5E28168B7FDA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01C75C57-3845-49B9-88BD-DCABA2C679A6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818CFD0D-92E3-4829-9632-AA75A68060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B994F10B-62B0-4DD2-89BA-A65C234E14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E938C2DE-D71B-4C06-B118-AB07CC8E152C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5" name="Flussdiagramm: Daten 1">
              <a:extLst>
                <a:ext uri="{FF2B5EF4-FFF2-40B4-BE49-F238E27FC236}">
                  <a16:creationId xmlns:a16="http://schemas.microsoft.com/office/drawing/2014/main" id="{2B839483-0EA1-4C0F-A264-80837B174EDF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54F70D2D-518A-4BD0-A6D6-847E4FBF70AD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3BDAA094-2F8B-43A0-B0C2-13FABFD5E5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F12F22-FF28-4820-A68D-A5F72725FC6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8A6CD3E-015E-4A56-B385-B9FCB8F5C4CC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3F3704-4735-47BC-9959-1938DB164F0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2166BB-EF88-4A54-8E24-92EC4A2AF98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9502913"/>
      </p:ext>
    </p:extLst>
  </p:cSld>
  <p:clrMapOvr>
    <a:masterClrMapping/>
  </p:clrMapOvr>
  <p:transition spd="slow" advClick="0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otschaft Inhalte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1942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05851" cy="648000"/>
          </a:xfrm>
          <a:noFill/>
        </p:spPr>
        <p:txBody>
          <a:bodyPr vert="horz">
            <a:normAutofit/>
          </a:bodyPr>
          <a:lstStyle>
            <a:lvl1pPr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5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2810"/>
            <a:ext cx="4248001" cy="353742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3" hasCustomPrompt="1"/>
          </p:nvPr>
        </p:nvSpPr>
        <p:spPr>
          <a:xfrm>
            <a:off x="4643718" y="1063817"/>
            <a:ext cx="4248001" cy="353742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4F99CB15-6B73-43BF-8C99-6E0949104D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E3C06A70-06B5-47C6-AE8C-BBD691DCC8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87C1750F-55BC-4E0A-A692-BD2798430372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354600E0-B4C3-4FFC-A877-7CAD74A1DD4D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E393E8E-9A8A-44BD-9278-70FB9CF74893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A9BD5FE9-8730-443E-866A-3FFA34D34F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FA4C3D5F-B5E5-434E-A8E4-F61C46A2FC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AD0F5235-6226-4D68-B40F-5A1A14ECD60A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6" name="Flussdiagramm: Daten 1">
              <a:extLst>
                <a:ext uri="{FF2B5EF4-FFF2-40B4-BE49-F238E27FC236}">
                  <a16:creationId xmlns:a16="http://schemas.microsoft.com/office/drawing/2014/main" id="{997FCE35-59D7-485D-AE35-447521BC012E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E189A65B-69B1-48FF-9421-0C4065FDA9D5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16153C50-6806-456F-BF77-27C50561E6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3CC774A-BCAC-423F-B089-4D2F411B3E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0737E1-4BF6-4DAD-815E-72287B49C21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C2028A-7A3D-4D2A-8C6A-471D63F91A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0E92204-2F2D-4989-BCF5-7EF9A7A312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2664947"/>
      </p:ext>
    </p:extLst>
  </p:cSld>
  <p:clrMapOvr>
    <a:masterClrMapping/>
  </p:clrMapOvr>
  <p:transition spd="slow" advClick="0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otschaft InhalteNum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78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44302" cy="648000"/>
          </a:xfrm>
          <a:noFill/>
        </p:spPr>
        <p:txBody>
          <a:bodyPr vert="horz">
            <a:normAutofit/>
          </a:bodyPr>
          <a:lstStyle>
            <a:lvl1pPr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0450"/>
            <a:ext cx="4248001" cy="353978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6" hasCustomPrompt="1"/>
          </p:nvPr>
        </p:nvSpPr>
        <p:spPr>
          <a:xfrm>
            <a:off x="4643718" y="1060450"/>
            <a:ext cx="4248001" cy="353978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4239AA17-22B2-464A-8095-D0959C40BE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1686433D-371B-455E-94F2-38A47113FF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F4C0E35-D6D9-411C-8581-4A47AC316797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A0858CAE-2593-4038-81D6-D46CD2D11D49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97C1DD75-3AF9-493A-8A27-FE9B1A4D39CE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0FEADEC-46E7-4CC7-91B1-0D2C8CE5D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4" name="Rechteck 23" hidden="1">
            <a:extLst>
              <a:ext uri="{FF2B5EF4-FFF2-40B4-BE49-F238E27FC236}">
                <a16:creationId xmlns:a16="http://schemas.microsoft.com/office/drawing/2014/main" id="{420FE8EA-9186-48D4-85A4-D838EC7F83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D58FA24-06B8-4A50-8AE6-ED3B6A6A11BC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1" name="Flussdiagramm: Daten 1">
              <a:extLst>
                <a:ext uri="{FF2B5EF4-FFF2-40B4-BE49-F238E27FC236}">
                  <a16:creationId xmlns:a16="http://schemas.microsoft.com/office/drawing/2014/main" id="{50D3BDC7-BCBA-4405-8C22-8C6B102148C0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797DC785-7F95-416A-9CBD-3464C0C9FE43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9A56E04B-F31F-48A3-936F-DD90F83610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4F1F93-368F-4D5F-851E-DBFD48149A9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B8D6738-167C-45CD-B364-23204ACBB9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04BF1B1-2ADB-4CD5-99BF-EB9BE5B342E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A6D995-E551-46A3-8E19-9CE1EBF2438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4925942"/>
      </p:ext>
    </p:extLst>
  </p:cSld>
  <p:clrMapOvr>
    <a:masterClrMapping/>
  </p:clrMapOvr>
  <p:transition spd="slow" advClick="0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otschaft Untertitel Inhalten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4470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0" y="1059657"/>
            <a:ext cx="4244254" cy="53998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3438" y="1059657"/>
            <a:ext cx="4249738" cy="53998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8" hasCustomPrompt="1"/>
          </p:nvPr>
        </p:nvSpPr>
        <p:spPr>
          <a:xfrm>
            <a:off x="325456" y="1687298"/>
            <a:ext cx="4248001" cy="2912939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9" hasCustomPrompt="1"/>
          </p:nvPr>
        </p:nvSpPr>
        <p:spPr>
          <a:xfrm>
            <a:off x="4645175" y="1687299"/>
            <a:ext cx="4248001" cy="291394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81B25594-560D-4DB4-B99B-591C62268E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1DC8B25-4F77-4A9C-9908-FF0C0C6339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174C82A9-9165-4BB8-8BAA-9A0F9FE399A8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9" name="Flussdiagramm: Daten 1">
              <a:extLst>
                <a:ext uri="{FF2B5EF4-FFF2-40B4-BE49-F238E27FC236}">
                  <a16:creationId xmlns:a16="http://schemas.microsoft.com/office/drawing/2014/main" id="{BDD2D330-3526-4098-A4C0-0F24EF1A8EFA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6148762F-52D2-4927-93AC-A4B725EDCF45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3A10684-4249-4422-B01B-86237B6ED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2" name="Rechteck 21" hidden="1">
            <a:extLst>
              <a:ext uri="{FF2B5EF4-FFF2-40B4-BE49-F238E27FC236}">
                <a16:creationId xmlns:a16="http://schemas.microsoft.com/office/drawing/2014/main" id="{D394D09D-F2AE-4D01-9F1E-7B84296827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211DF20-972D-4817-9382-D1A9586DEBC0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B5050413-BF5D-402B-A708-B5F5AD3F6AE1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8892A433-CF52-4C75-ACE0-A3ABA00186BE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ABE4B12B-B60F-4D04-84CD-9854F364D0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139376-E4F6-4ADB-B359-1ED288091DF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D57A4EC-F1C5-456B-BF09-A2D6E709F47C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1D861EF-8A2D-4C1E-9CE2-51DA1F3D616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F5637F3-75B5-4415-8CBE-96698E0BCF2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1825040"/>
      </p:ext>
    </p:extLst>
  </p:cSld>
  <p:clrMapOvr>
    <a:masterClrMapping/>
  </p:clrMapOvr>
  <p:transition spd="slow" advClick="0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otschaft Untertitel InhalteNum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578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0" y="1059657"/>
            <a:ext cx="4244254" cy="53998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3438" y="1059657"/>
            <a:ext cx="4249738" cy="53998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29" name="Inhaltsplatzhalter 2"/>
          <p:cNvSpPr>
            <a:spLocks noGrp="1"/>
          </p:cNvSpPr>
          <p:nvPr>
            <p:ph idx="17" hasCustomPrompt="1"/>
          </p:nvPr>
        </p:nvSpPr>
        <p:spPr>
          <a:xfrm>
            <a:off x="323999" y="1687298"/>
            <a:ext cx="4248001" cy="2912939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Inhaltsplatzhalter 2"/>
          <p:cNvSpPr>
            <a:spLocks noGrp="1"/>
          </p:cNvSpPr>
          <p:nvPr>
            <p:ph idx="18" hasCustomPrompt="1"/>
          </p:nvPr>
        </p:nvSpPr>
        <p:spPr>
          <a:xfrm>
            <a:off x="4643718" y="1687298"/>
            <a:ext cx="4248001" cy="2912939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B5D357EB-C093-42A9-992C-45A9D60BB1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3E0E86A1-B2E1-4699-83DF-DC162BA28E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71BF45DD-DFCF-4C4E-A063-0D1C36B96ECD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DB40AE1B-6360-4598-BE13-1B1558F62483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20C763D4-CACA-4868-8F00-25B519855086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998F7E75-536F-48CB-ACDA-E1591CA3B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1" name="Rechteck 20" hidden="1">
            <a:extLst>
              <a:ext uri="{FF2B5EF4-FFF2-40B4-BE49-F238E27FC236}">
                <a16:creationId xmlns:a16="http://schemas.microsoft.com/office/drawing/2014/main" id="{2358C1B3-AD49-4C1B-854A-344C465DE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B180003C-C068-4504-865B-201882011B72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3" name="Flussdiagramm: Daten 1">
              <a:extLst>
                <a:ext uri="{FF2B5EF4-FFF2-40B4-BE49-F238E27FC236}">
                  <a16:creationId xmlns:a16="http://schemas.microsoft.com/office/drawing/2014/main" id="{3AE83798-87E9-4783-AE3E-00CF29316C8A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129B753A-D719-4025-9FB3-D7014F3EB03B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F6EC9F09-E982-4795-82AD-AAB54F1D11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AB3A60-8D4F-493E-B128-114253CF75C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FED4991-F707-4E5D-81B2-EEC10C24C5B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295F4E-EB64-4ADC-AE7E-651ABA371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D4F1F00-A796-4FBB-B407-887486E6AA7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3283484"/>
      </p:ext>
    </p:extLst>
  </p:cSld>
  <p:clrMapOvr>
    <a:masterClrMapping/>
  </p:clrMapOvr>
  <p:transition spd="slow" advClick="0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otschaft Untertitel Bild Inhalten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573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0" y="1059657"/>
            <a:ext cx="3420000" cy="53998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648000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600237"/>
            <a:ext cx="3421456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8" hasCustomPrompt="1"/>
          </p:nvPr>
        </p:nvSpPr>
        <p:spPr>
          <a:xfrm>
            <a:off x="325456" y="1687298"/>
            <a:ext cx="3420000" cy="2912939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81B25594-560D-4DB4-B99B-591C62268E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1DC8B25-4F77-4A9C-9908-FF0C0C6339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C04B5005-A8D7-4723-8E18-FC61C4FAC90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8062" y="1018173"/>
            <a:ext cx="1327329" cy="3842751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E4F9D6A1-2BD5-4669-8CBC-06601DE61F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38116" y="985648"/>
            <a:ext cx="623094" cy="3873206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3437" y="1059657"/>
            <a:ext cx="3420000" cy="53998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9" hasCustomPrompt="1"/>
          </p:nvPr>
        </p:nvSpPr>
        <p:spPr>
          <a:xfrm>
            <a:off x="4645174" y="1687299"/>
            <a:ext cx="3420000" cy="291394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0" name="Gleichschenkliges Dreieck 29">
            <a:extLst>
              <a:ext uri="{FF2B5EF4-FFF2-40B4-BE49-F238E27FC236}">
                <a16:creationId xmlns:a16="http://schemas.microsoft.com/office/drawing/2014/main" id="{9764C393-8EF8-4136-A129-A4AD7F329E0D}"/>
              </a:ext>
            </a:extLst>
          </p:cNvPr>
          <p:cNvSpPr/>
          <p:nvPr/>
        </p:nvSpPr>
        <p:spPr>
          <a:xfrm rot="5400000">
            <a:off x="3102977" y="2782487"/>
            <a:ext cx="2326610" cy="274517"/>
          </a:xfrm>
          <a:prstGeom prst="triangle">
            <a:avLst/>
          </a:prstGeom>
          <a:solidFill>
            <a:srgbClr val="009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D7DC75A-4A0E-423D-8D11-4D2A0F0C33B0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2" name="Flussdiagramm: Daten 1">
              <a:extLst>
                <a:ext uri="{FF2B5EF4-FFF2-40B4-BE49-F238E27FC236}">
                  <a16:creationId xmlns:a16="http://schemas.microsoft.com/office/drawing/2014/main" id="{58A7F829-9C3C-4039-821E-461AE0D82257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EA3351D4-2C2B-45B5-AF61-EDD294873472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D991FBCA-CA5F-46FD-AAAD-4E8EB987D4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3" name="Rechteck 22" hidden="1">
            <a:extLst>
              <a:ext uri="{FF2B5EF4-FFF2-40B4-BE49-F238E27FC236}">
                <a16:creationId xmlns:a16="http://schemas.microsoft.com/office/drawing/2014/main" id="{24E11AC4-F483-4D96-A2E6-C9830B0625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6B57E118-D50E-4D4E-9279-0995FD72FC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8062" y="1018173"/>
            <a:ext cx="1327329" cy="3842751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CD3028F9-A966-4246-87C4-7593677A0A8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38116" y="985648"/>
            <a:ext cx="623094" cy="3873206"/>
          </a:xfrm>
          <a:prstGeom prst="rect">
            <a:avLst/>
          </a:prstGeom>
        </p:spPr>
      </p:pic>
      <p:sp>
        <p:nvSpPr>
          <p:cNvPr id="40" name="Gleichschenkliges Dreieck 39">
            <a:extLst>
              <a:ext uri="{FF2B5EF4-FFF2-40B4-BE49-F238E27FC236}">
                <a16:creationId xmlns:a16="http://schemas.microsoft.com/office/drawing/2014/main" id="{8728933E-65E1-4282-8898-B8E2FFE7EAAE}"/>
              </a:ext>
            </a:extLst>
          </p:cNvPr>
          <p:cNvSpPr/>
          <p:nvPr userDrawn="1"/>
        </p:nvSpPr>
        <p:spPr>
          <a:xfrm rot="5400000">
            <a:off x="3102977" y="2782487"/>
            <a:ext cx="2326610" cy="274517"/>
          </a:xfrm>
          <a:prstGeom prst="triangle">
            <a:avLst/>
          </a:prstGeom>
          <a:solidFill>
            <a:srgbClr val="009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74DDF080-6130-4885-9AE7-56FEFEB640E3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42" name="Flussdiagramm: Daten 1">
              <a:extLst>
                <a:ext uri="{FF2B5EF4-FFF2-40B4-BE49-F238E27FC236}">
                  <a16:creationId xmlns:a16="http://schemas.microsoft.com/office/drawing/2014/main" id="{9611E731-59EA-41BE-A1A8-02EC73B50A24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A8666458-4E04-485C-9076-AA3E1D63640F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C1E661E0-4B67-4E33-9DCF-FBB4E31E21A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60B289-F3AD-48BF-BF97-C65F30451EB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051BBA5-B510-447A-9C8B-5BEEC75C09DC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954585C-0E96-4286-8F1B-363C58CBFA9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1D7C34A-6BBD-4355-82D3-35D8FF86D27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1445742"/>
      </p:ext>
    </p:extLst>
  </p:cSld>
  <p:clrMapOvr>
    <a:masterClrMapping/>
  </p:clrMapOvr>
  <p:transition spd="slow"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40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82A1DBC-3AA3-450D-A8AB-5CE7453BD6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339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82A1DBC-3AA3-450D-A8AB-5CE7453BD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9365A842-68B1-564C-9DB3-6B3CB62E1FC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9745" b="-811"/>
          <a:stretch/>
        </p:blipFill>
        <p:spPr>
          <a:xfrm>
            <a:off x="715579" y="-1316"/>
            <a:ext cx="8428421" cy="51435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5D61BED-6393-D641-8718-8AFBA82CA8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3494" y="-1"/>
            <a:ext cx="3864576" cy="515169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8F3A326D-DABA-4846-AD7E-BBCADC3FE80D}"/>
              </a:ext>
            </a:extLst>
          </p:cNvPr>
          <p:cNvSpPr/>
          <p:nvPr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latin typeface="Source Sans Pro" charset="0"/>
            </a:endParaRP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D4F7C6D2-ACE8-4185-8917-ED34CA3BAD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5" y="2463210"/>
            <a:ext cx="3278059" cy="1750979"/>
          </a:xfr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de-DE" sz="2400">
                <a:solidFill>
                  <a:srgbClr val="009B3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pPr marL="0" lvl="0" defTabSz="914400">
              <a:lnSpc>
                <a:spcPct val="90000"/>
              </a:lnSpc>
            </a:pPr>
            <a:r>
              <a:rPr lang="de-DE" dirty="0"/>
              <a:t>Mastertitelformat bearbeiten mit Text, bis zu drei Zeilen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07382E9E-7F48-854D-AD0E-7231C2F18DE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F420D255-98E2-4230-A92F-B052C678EF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4214813"/>
            <a:ext cx="3278187" cy="4587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2pPr>
            <a:lvl3pPr marL="98550" indent="0">
              <a:buFontTx/>
              <a:buNone/>
              <a:defRPr/>
            </a:lvl3pPr>
            <a:lvl4pPr marL="233550" indent="0">
              <a:buFontTx/>
              <a:buNone/>
              <a:defRPr/>
            </a:lvl4pPr>
            <a:lvl5pPr marL="638550" indent="0">
              <a:buFontTx/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  <a:p>
            <a:pPr lvl="1"/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273D3341-760B-4E10-9381-1F5C58D5A343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8" name="Flussdiagramm: Daten 1">
              <a:extLst>
                <a:ext uri="{FF2B5EF4-FFF2-40B4-BE49-F238E27FC236}">
                  <a16:creationId xmlns:a16="http://schemas.microsoft.com/office/drawing/2014/main" id="{A338F515-E4BA-4A45-98A4-C71BDBA632EA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DFF9DAF1-352D-4CFC-A09B-83A315AFE906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09A4B34E-1F92-4A1A-B689-A671A9F5DB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82A8F117-EFA6-435E-814E-D53A374A42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54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92" imgH="591" progId="TCLayout.ActiveDocument.1">
                  <p:embed/>
                </p:oleObj>
              </mc:Choice>
              <mc:Fallback>
                <p:oleObj name="think-cell Folie" r:id="rId12" imgW="592" imgH="591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82A8F117-EFA6-435E-814E-D53A374A4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Grafik 25">
            <a:extLst>
              <a:ext uri="{FF2B5EF4-FFF2-40B4-BE49-F238E27FC236}">
                <a16:creationId xmlns:a16="http://schemas.microsoft.com/office/drawing/2014/main" id="{C7BE3B81-A59A-4733-B6EA-9E0E6DA6B5A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77D8B8DA-E571-43F6-B6ED-37F71685BA28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05B5E403-FDC8-4CD4-8110-A54FD7C07ABF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1D70662-CE56-4201-BFAA-6321863A0510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7D23E788-7A4B-46A9-BB13-10FDB740AD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6C44CF-5456-4568-A200-4D3D87A111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CE4D896-7C05-4632-88F6-99C0A9BF41B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EB867B5-C4B4-4727-88AD-C5E814596AB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9574519-273B-4A69-80C8-1A42EAC340C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1792087"/>
      </p:ext>
    </p:extLst>
  </p:cSld>
  <p:clrMapOvr>
    <a:masterClrMapping/>
  </p:clrMapOvr>
  <p:transition spd="slow" advClick="0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Elemen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074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24000" y="1061212"/>
            <a:ext cx="2789486" cy="3706049"/>
          </a:xfrm>
          <a:prstGeom prst="rect">
            <a:avLst/>
          </a:prstGeom>
        </p:spPr>
        <p:txBody>
          <a:bodyPr lIns="0" tIns="0" rIns="72000" bIns="0"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j-lt"/>
                <a:sym typeface="Source Sans Pro" panose="020B0503030403020204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323999" y="324001"/>
            <a:ext cx="8240821" cy="736450"/>
          </a:xfrm>
          <a:noFill/>
        </p:spPr>
        <p:txBody>
          <a:bodyPr vert="horz">
            <a:no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idx="19" hasCustomPrompt="1"/>
          </p:nvPr>
        </p:nvSpPr>
        <p:spPr>
          <a:xfrm>
            <a:off x="3203576" y="1060452"/>
            <a:ext cx="5688144" cy="3725862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AD9C5A10-8A16-4623-A6DC-0936BBBE01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50CF7FCD-D11B-45F8-BBAC-1839C4526A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613DE44F-E893-472A-A0AB-D412C9114E91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3" name="Flussdiagramm: Daten 1">
              <a:extLst>
                <a:ext uri="{FF2B5EF4-FFF2-40B4-BE49-F238E27FC236}">
                  <a16:creationId xmlns:a16="http://schemas.microsoft.com/office/drawing/2014/main" id="{E70D8C86-3A11-4F7B-BF4B-A473AC7E5A7E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15F0F437-A2A7-4592-B65E-6BDBDBCD51C1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29394C24-7AAB-45C9-AD18-DD778E0C962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9817A2F4-F766-4A2C-B6E0-9841C1B5F8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1784BD3F-A4D8-4383-B999-E1721C777203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2" name="Flussdiagramm: Daten 1">
              <a:extLst>
                <a:ext uri="{FF2B5EF4-FFF2-40B4-BE49-F238E27FC236}">
                  <a16:creationId xmlns:a16="http://schemas.microsoft.com/office/drawing/2014/main" id="{6D9AED72-07B0-4517-99C8-FDA69266A07C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B90ACB83-C131-478A-980D-22D9F4C3912D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07E36C62-6FE6-45CB-9286-08D74D51B4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23697B-ACB3-4A80-97B7-D1357AC3163C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4DBFA4D-31FB-4312-87CE-AFE57E187A48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4833DE-D1B4-49F9-BD8E-E675185E2EC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1670FD-711E-44A1-9CA3-ECE90AE0C56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4871692"/>
      </p:ext>
    </p:extLst>
  </p:cSld>
  <p:clrMapOvr>
    <a:masterClrMapping/>
  </p:clrMapOvr>
  <p:transition spd="slow" advClick="0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otschaft Elemen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4590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24000" y="1061212"/>
            <a:ext cx="2789486" cy="3706049"/>
          </a:xfrm>
          <a:prstGeom prst="rect">
            <a:avLst/>
          </a:prstGeom>
        </p:spPr>
        <p:txBody>
          <a:bodyPr lIns="0" tIns="0" rIns="72000" bIns="0"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j-lt"/>
                <a:sym typeface="Source Sans Pro" panose="020B0503030403020204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323999" y="324001"/>
            <a:ext cx="8240821" cy="736450"/>
          </a:xfrm>
          <a:noFill/>
        </p:spPr>
        <p:txBody>
          <a:bodyPr vert="horz">
            <a:noAutofit/>
          </a:bodyPr>
          <a:lstStyle>
            <a:lvl1pPr marL="0" indent="-423900">
              <a:spcBef>
                <a:spcPts val="900"/>
              </a:spcBef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idx="19" hasCustomPrompt="1"/>
          </p:nvPr>
        </p:nvSpPr>
        <p:spPr>
          <a:xfrm>
            <a:off x="3203576" y="1060452"/>
            <a:ext cx="5688144" cy="3725862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AD9C5A10-8A16-4623-A6DC-0936BBBE01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50CF7FCD-D11B-45F8-BBAC-1839C4526A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CFBEE1BA-0212-4DF8-B438-BF0776D88503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3" name="Flussdiagramm: Daten 1">
              <a:extLst>
                <a:ext uri="{FF2B5EF4-FFF2-40B4-BE49-F238E27FC236}">
                  <a16:creationId xmlns:a16="http://schemas.microsoft.com/office/drawing/2014/main" id="{C87B4937-6FA8-481B-9348-8F02506F5D5C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9CB34328-4611-49B1-8ADF-1CD14248443B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D2B054E7-7677-49E3-A1EF-5A4B6354A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37FACB1F-24FC-4986-A46A-EEB2BBF9FF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6B31F53-FF40-4C34-BB35-96D6D11DB22D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2" name="Flussdiagramm: Daten 1">
              <a:extLst>
                <a:ext uri="{FF2B5EF4-FFF2-40B4-BE49-F238E27FC236}">
                  <a16:creationId xmlns:a16="http://schemas.microsoft.com/office/drawing/2014/main" id="{7C50BF5C-C1C1-4547-B1C4-EA5D137D4671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72BD06B2-8EEC-48C2-95F0-D2FDCE9AF119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A8A7C4E4-4899-4F8D-9E93-9E08CE12EB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615383-01D1-4BF7-998F-E6DFF463851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0C9B0B3-0C55-44B9-8786-C2D892DFE101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C02F68-AFE3-427F-9E3C-D8341ADE38C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3464490-7F90-48EE-BFC8-4223D14DFA5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6933600"/>
      </p:ext>
    </p:extLst>
  </p:cSld>
  <p:clrMapOvr>
    <a:masterClrMapping/>
  </p:clrMapOvr>
  <p:transition spd="slow" advClick="0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Titel Element 2/3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076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0820" cy="545741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4AD69107-69ED-4357-8FC3-9540CB76C4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4E8E76F2-014C-4400-8008-B2A41D3653F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877" t="59322"/>
          <a:stretch/>
        </p:blipFill>
        <p:spPr>
          <a:xfrm rot="10800000" flipV="1">
            <a:off x="2561770" y="943429"/>
            <a:ext cx="6582229" cy="3917019"/>
          </a:xfrm>
          <a:prstGeom prst="rect">
            <a:avLst/>
          </a:prstGeom>
        </p:spPr>
      </p:pic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57C77A1-904F-4BD6-9828-2C978EDEF18C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24000" y="1061212"/>
            <a:ext cx="2789486" cy="3706049"/>
          </a:xfrm>
          <a:prstGeom prst="rect">
            <a:avLst/>
          </a:prstGeom>
        </p:spPr>
        <p:txBody>
          <a:bodyPr vert="horz" lIns="0" tIns="0" rIns="72000" bIns="0"/>
          <a:lstStyle>
            <a:lvl1pPr>
              <a:defRPr lang="de-DE" sz="1600" dirty="0">
                <a:solidFill>
                  <a:schemeClr val="tx1"/>
                </a:solidFill>
                <a:latin typeface="+mj-lt"/>
              </a:defRPr>
            </a:lvl1pPr>
          </a:lstStyle>
          <a:p>
            <a:pPr marL="36450" lvl="0" indent="-36450">
              <a:lnSpc>
                <a:spcPct val="100000"/>
              </a:lnSpc>
              <a:buNone/>
            </a:pPr>
            <a:r>
              <a:rPr lang="en-US">
                <a:solidFill>
                  <a:schemeClr val="tx2"/>
                </a:solidFill>
              </a:rPr>
              <a:t>Click to edit Master text styles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8E596D1C-66EF-4B48-94E7-2173A045366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203576" y="1060452"/>
            <a:ext cx="5688144" cy="3725862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FFFEFF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FFFEFF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FFFEFF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FFFEFF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FA12A3C3-2D62-436C-89E6-4CA21FF441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778FC2FD-ADCF-4094-B6A2-AF3E6DF4409F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3" name="Flussdiagramm: Daten 1">
              <a:extLst>
                <a:ext uri="{FF2B5EF4-FFF2-40B4-BE49-F238E27FC236}">
                  <a16:creationId xmlns:a16="http://schemas.microsoft.com/office/drawing/2014/main" id="{1D84AF1D-F467-422E-BA54-2A696F9D6A44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1ADA5CF8-577A-46E1-98FB-14B24215FEC1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3FDC3439-68BC-4C66-B8E4-0B7C1A45BCA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EF595D1D-FB11-486F-9277-E6579719C2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BECA9BD9-D7D0-4EEF-87B3-BD1756378A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877" t="59322"/>
          <a:stretch/>
        </p:blipFill>
        <p:spPr>
          <a:xfrm rot="10800000" flipV="1">
            <a:off x="2561770" y="943429"/>
            <a:ext cx="6582229" cy="3917019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5A398DAE-2C48-4607-9CDD-5D7F38B07505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9" name="Flussdiagramm: Daten 1">
              <a:extLst>
                <a:ext uri="{FF2B5EF4-FFF2-40B4-BE49-F238E27FC236}">
                  <a16:creationId xmlns:a16="http://schemas.microsoft.com/office/drawing/2014/main" id="{6BF28A32-207A-43BF-91DC-6336DCEE44B8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4C11DECA-4A73-427F-9CFB-335D39C7FC6F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B435049-1159-4143-B213-4C6A2664C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F3DBB6C-9DB1-4940-A6A4-560C5F32F4A4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47C89AA7-EF39-4CE8-8221-95E1EADE3AE5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B267F1-279A-4CAB-BF14-0CCE9C70D9A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E712E-B7C2-41F5-969C-749F503C2377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4607955"/>
      </p:ext>
    </p:extLst>
  </p:cSld>
  <p:clrMapOvr>
    <a:masterClrMapping/>
  </p:clrMapOvr>
  <p:transition spd="slow" advClick="0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Botschaft Element 2/3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4700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0820" cy="545741"/>
          </a:xfrm>
          <a:noFill/>
        </p:spPr>
        <p:txBody>
          <a:bodyPr vert="horz">
            <a:normAutofit/>
          </a:bodyPr>
          <a:lstStyle>
            <a:lvl1pPr marL="0" indent="-423900">
              <a:spcBef>
                <a:spcPts val="900"/>
              </a:spcBef>
              <a:defRPr sz="16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4AD69107-69ED-4357-8FC3-9540CB76C4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4E8E76F2-014C-4400-8008-B2A41D3653F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877" t="59322"/>
          <a:stretch/>
        </p:blipFill>
        <p:spPr>
          <a:xfrm rot="10800000" flipV="1">
            <a:off x="2561770" y="943429"/>
            <a:ext cx="6582229" cy="3917019"/>
          </a:xfrm>
          <a:prstGeom prst="rect">
            <a:avLst/>
          </a:prstGeom>
        </p:spPr>
      </p:pic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57C77A1-904F-4BD6-9828-2C978EDEF18C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324000" y="1061212"/>
            <a:ext cx="2789486" cy="3706049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600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>
                <a:solidFill>
                  <a:schemeClr val="tx2"/>
                </a:solidFill>
              </a:rPr>
              <a:t>Click to edit Master text styles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8E596D1C-66EF-4B48-94E7-2173A045366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203576" y="1060452"/>
            <a:ext cx="5688144" cy="3725862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FFFEFF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FFFEFF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FFFEFF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FFFEFF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FA12A3C3-2D62-436C-89E6-4CA21FF441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5EB4A68-3620-4415-8473-6154615F5DFB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3" name="Flussdiagramm: Daten 1">
              <a:extLst>
                <a:ext uri="{FF2B5EF4-FFF2-40B4-BE49-F238E27FC236}">
                  <a16:creationId xmlns:a16="http://schemas.microsoft.com/office/drawing/2014/main" id="{7BE5B02C-341A-4A4F-94DC-B0C793EA66A0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05B6A6CB-D19F-4DA1-A304-3BF1BC64DDB3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D8947D82-ABDB-4F04-8F7D-1600F74C0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6304855D-BBD7-4BB1-83CC-6D2ABA1006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35D52DE9-7031-4F73-B4CF-B9BECCF927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877" t="59322"/>
          <a:stretch/>
        </p:blipFill>
        <p:spPr>
          <a:xfrm rot="10800000" flipV="1">
            <a:off x="2561770" y="943429"/>
            <a:ext cx="6582229" cy="3917019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AF7A568-E29C-4764-A87F-843FA8842689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9" name="Flussdiagramm: Daten 1">
              <a:extLst>
                <a:ext uri="{FF2B5EF4-FFF2-40B4-BE49-F238E27FC236}">
                  <a16:creationId xmlns:a16="http://schemas.microsoft.com/office/drawing/2014/main" id="{19A5534C-6517-42B1-9EC9-9FAF47F36D85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6A71648E-B282-4AED-8154-1A7CA3EA0E2A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6F40764-8F07-4921-8DD4-64911ED2C3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3B5D959-F805-484E-B6E2-5E6CC4EF061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8A4E8C2-7900-4483-8DF2-2F8EEB9FCC1F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CBB53DA-E11A-4664-8D68-9528CBFBC15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476367-D351-4A46-9C1E-9C7EFA51D3F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7995863"/>
      </p:ext>
    </p:extLst>
  </p:cSld>
  <p:clrMapOvr>
    <a:masterClrMapping/>
  </p:clrMapOvr>
  <p:transition spd="slow" advClick="0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und Bild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51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203574" y="0"/>
            <a:ext cx="5940426" cy="48604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24000" y="1060452"/>
            <a:ext cx="2789486" cy="3706810"/>
          </a:xfrm>
          <a:prstGeom prst="rect">
            <a:avLst/>
          </a:prstGeom>
        </p:spPr>
        <p:txBody>
          <a:bodyPr lIns="0" tIns="0" rIns="72000" bIns="0"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  <a:latin typeface="+mj-lt"/>
                <a:ea typeface="Roboto Slab" pitchFamily="2" charset="0"/>
                <a:sym typeface="Source Sans Pro" panose="020B0503030403020204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324001"/>
            <a:ext cx="2789486" cy="736450"/>
          </a:xfrm>
          <a:noFill/>
        </p:spPr>
        <p:txBody>
          <a:bodyPr vert="horz">
            <a:no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de-DE" dirty="0"/>
              <a:t>Mastertitelformat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5B4B348A-48D7-4AAC-9397-6E65B47D9A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851" y="65088"/>
            <a:ext cx="2789636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8A24067C-D4A1-49DF-9191-ED6B8D7A43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03574" y="7255"/>
            <a:ext cx="1155821" cy="4853193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47CB98E0-E1F4-4CEB-B057-147DFFC8B08F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2" name="Flussdiagramm: Daten 1">
              <a:extLst>
                <a:ext uri="{FF2B5EF4-FFF2-40B4-BE49-F238E27FC236}">
                  <a16:creationId xmlns:a16="http://schemas.microsoft.com/office/drawing/2014/main" id="{7899924F-760C-4BC1-9844-9FCF6995F7B8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3A47689C-FB0E-4F41-90E0-A4A3BA78078D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C8F4BF72-2CBE-4FDD-A2CB-606EBDAB1A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F6789DDE-BE70-4052-BC96-25F3BB4192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03574" y="7255"/>
            <a:ext cx="1155821" cy="4853193"/>
          </a:xfrm>
          <a:prstGeom prst="rect">
            <a:avLst/>
          </a:prstGeom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5297707-7E97-4A20-81DF-D0F34A63FD71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9" name="Flussdiagramm: Daten 1">
              <a:extLst>
                <a:ext uri="{FF2B5EF4-FFF2-40B4-BE49-F238E27FC236}">
                  <a16:creationId xmlns:a16="http://schemas.microsoft.com/office/drawing/2014/main" id="{DC23E610-3418-4CB3-A706-8447C6D3B2FA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49C16352-7B94-4070-ADCD-E33E62ACE6BC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5D8B01F3-CD4A-45BA-8B3E-8F79B7D585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A1E1510-76DD-453F-9A93-2B94EFD215F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9F28474-2B68-499B-97F6-6DEFB9205563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CDBBF37-D72B-4B10-B414-292395DAF6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0907038-120D-4A43-B6D5-F8D42AE21C6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2824716"/>
      </p:ext>
    </p:extLst>
  </p:cSld>
  <p:clrMapOvr>
    <a:masterClrMapping/>
  </p:clrMapOvr>
  <p:transition spd="slow" advClick="0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Untertitel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185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0" y="1059656"/>
            <a:ext cx="2088000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3"/>
          </p:nvPr>
        </p:nvSpPr>
        <p:spPr>
          <a:xfrm>
            <a:off x="2484438" y="1060450"/>
            <a:ext cx="208732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5"/>
          </p:nvPr>
        </p:nvSpPr>
        <p:spPr>
          <a:xfrm>
            <a:off x="4644008" y="1059656"/>
            <a:ext cx="208775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40820" cy="648000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17"/>
          </p:nvPr>
        </p:nvSpPr>
        <p:spPr>
          <a:xfrm>
            <a:off x="323999" y="1707656"/>
            <a:ext cx="2087413" cy="3069557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100" baseline="0">
                <a:solidFill>
                  <a:schemeClr val="tx1"/>
                </a:solidFill>
                <a:latin typeface="+mn-lt"/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0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0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4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8"/>
          </p:nvPr>
        </p:nvSpPr>
        <p:spPr>
          <a:xfrm>
            <a:off x="2484439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 smtClean="0">
                <a:solidFill>
                  <a:schemeClr val="tx1"/>
                </a:solidFill>
                <a:latin typeface="+mn-lt"/>
              </a:defRPr>
            </a:lvl1pPr>
            <a:lvl2pPr>
              <a:defRPr lang="de-DE" sz="11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de-DE" sz="100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 smtClean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3" name="Inhaltsplatzhalter 3"/>
          <p:cNvSpPr>
            <a:spLocks noGrp="1"/>
          </p:cNvSpPr>
          <p:nvPr>
            <p:ph sz="half" idx="19"/>
          </p:nvPr>
        </p:nvSpPr>
        <p:spPr>
          <a:xfrm>
            <a:off x="4643057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>
                <a:solidFill>
                  <a:schemeClr val="tx1"/>
                </a:solidFill>
                <a:latin typeface="+mn-lt"/>
              </a:defRPr>
            </a:lvl1pPr>
            <a:lvl2pPr>
              <a:defRPr lang="de-DE" sz="1100">
                <a:solidFill>
                  <a:schemeClr val="tx1"/>
                </a:solidFill>
                <a:latin typeface="+mn-lt"/>
              </a:defRPr>
            </a:lvl2pPr>
            <a:lvl3pPr>
              <a:defRPr lang="de-DE" sz="1000">
                <a:solidFill>
                  <a:schemeClr val="tx1"/>
                </a:solidFill>
                <a:latin typeface="+mn-lt"/>
              </a:defRPr>
            </a:lvl3pPr>
            <a:lvl4pPr>
              <a:defRPr lang="de-DE" sz="100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1537458F-4908-4222-BAC3-C171D0A619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BF6E4125-D202-413E-8DB7-2648D5E457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A8ABF22-1F4C-4BE6-A68C-0404C280CB38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1" name="Flussdiagramm: Daten 1">
              <a:extLst>
                <a:ext uri="{FF2B5EF4-FFF2-40B4-BE49-F238E27FC236}">
                  <a16:creationId xmlns:a16="http://schemas.microsoft.com/office/drawing/2014/main" id="{770B2BB5-0120-4D55-86E9-3209E288BEAB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EC286F60-7DA8-4F1B-9048-20E77B1911F1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E6036799-5BC4-4C30-A6FE-ABD86877A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5DA5A547-66EE-4E43-AFAD-DB289B5F2C3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9155" y="1033891"/>
            <a:ext cx="1964845" cy="3842751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52D3845-3DC5-47CD-A016-6F329F142E0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31057" y="983169"/>
            <a:ext cx="623094" cy="3873206"/>
          </a:xfrm>
          <a:prstGeom prst="rect">
            <a:avLst/>
          </a:prstGeom>
        </p:spPr>
      </p:pic>
      <p:sp>
        <p:nvSpPr>
          <p:cNvPr id="24" name="Rechteck 23" hidden="1">
            <a:extLst>
              <a:ext uri="{FF2B5EF4-FFF2-40B4-BE49-F238E27FC236}">
                <a16:creationId xmlns:a16="http://schemas.microsoft.com/office/drawing/2014/main" id="{5DE1C3F3-3DF1-411A-8D25-3C186A1F7A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754C891F-4C51-4616-AD3F-48C017905EDF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9" name="Flussdiagramm: Daten 1">
              <a:extLst>
                <a:ext uri="{FF2B5EF4-FFF2-40B4-BE49-F238E27FC236}">
                  <a16:creationId xmlns:a16="http://schemas.microsoft.com/office/drawing/2014/main" id="{4988B2D0-1D10-41AF-BB3D-7B397BC4DF5F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5EFD5034-C833-4BD5-B11C-9BEF14DB8DE9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8D9B5DD-E066-4320-A8D1-4383828CCF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pic>
        <p:nvPicPr>
          <p:cNvPr id="42" name="Grafik 41">
            <a:extLst>
              <a:ext uri="{FF2B5EF4-FFF2-40B4-BE49-F238E27FC236}">
                <a16:creationId xmlns:a16="http://schemas.microsoft.com/office/drawing/2014/main" id="{89D972E5-547A-4272-89BE-1DEE7F4FFC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9155" y="1033891"/>
            <a:ext cx="1964845" cy="3842751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F903BCA7-E5FF-4122-83F1-DD5663262E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31057" y="983169"/>
            <a:ext cx="623094" cy="3873206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A6B713-DBC7-4789-A9CF-1F1F5CACCC6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0F515BC-C8CD-487C-90D5-0DEEE782F421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7A9D9D-FA50-4A7F-B994-71930611A88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81F816-A413-4BD1-8616-6B4629CC03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3035562"/>
      </p:ext>
    </p:extLst>
  </p:cSld>
  <p:clrMapOvr>
    <a:masterClrMapping/>
  </p:clrMapOvr>
  <p:transition spd="slow" advClick="0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otschaft Untertitel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990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0" y="1059656"/>
            <a:ext cx="2088000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3"/>
          </p:nvPr>
        </p:nvSpPr>
        <p:spPr>
          <a:xfrm>
            <a:off x="2484438" y="1060450"/>
            <a:ext cx="208732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5"/>
          </p:nvPr>
        </p:nvSpPr>
        <p:spPr>
          <a:xfrm>
            <a:off x="4644008" y="1059656"/>
            <a:ext cx="208775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40820" cy="648000"/>
          </a:xfrm>
          <a:noFill/>
        </p:spPr>
        <p:txBody>
          <a:bodyPr vert="horz">
            <a:normAutofit/>
          </a:bodyPr>
          <a:lstStyle>
            <a:lvl1pPr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17"/>
          </p:nvPr>
        </p:nvSpPr>
        <p:spPr>
          <a:xfrm>
            <a:off x="323999" y="1707656"/>
            <a:ext cx="2087413" cy="3069557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100" baseline="0">
                <a:solidFill>
                  <a:schemeClr val="tx1"/>
                </a:solidFill>
                <a:latin typeface="+mn-lt"/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0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0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4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8"/>
          </p:nvPr>
        </p:nvSpPr>
        <p:spPr>
          <a:xfrm>
            <a:off x="2484439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 smtClean="0">
                <a:solidFill>
                  <a:schemeClr val="tx1"/>
                </a:solidFill>
                <a:latin typeface="+mn-lt"/>
              </a:defRPr>
            </a:lvl1pPr>
            <a:lvl2pPr>
              <a:defRPr lang="de-DE" sz="11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de-DE" sz="100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 smtClean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3" name="Inhaltsplatzhalter 3"/>
          <p:cNvSpPr>
            <a:spLocks noGrp="1"/>
          </p:cNvSpPr>
          <p:nvPr>
            <p:ph sz="half" idx="19"/>
          </p:nvPr>
        </p:nvSpPr>
        <p:spPr>
          <a:xfrm>
            <a:off x="4643057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>
                <a:solidFill>
                  <a:schemeClr val="tx1"/>
                </a:solidFill>
                <a:latin typeface="+mn-lt"/>
              </a:defRPr>
            </a:lvl1pPr>
            <a:lvl2pPr>
              <a:defRPr lang="de-DE" sz="1100">
                <a:solidFill>
                  <a:schemeClr val="tx1"/>
                </a:solidFill>
                <a:latin typeface="+mn-lt"/>
              </a:defRPr>
            </a:lvl2pPr>
            <a:lvl3pPr>
              <a:defRPr lang="de-DE" sz="1000">
                <a:solidFill>
                  <a:schemeClr val="tx1"/>
                </a:solidFill>
                <a:latin typeface="+mn-lt"/>
              </a:defRPr>
            </a:lvl3pPr>
            <a:lvl4pPr>
              <a:defRPr lang="de-DE" sz="100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1537458F-4908-4222-BAC3-C171D0A619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BF6E4125-D202-413E-8DB7-2648D5E457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A8ABF22-1F4C-4BE6-A68C-0404C280CB38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1" name="Flussdiagramm: Daten 1">
              <a:extLst>
                <a:ext uri="{FF2B5EF4-FFF2-40B4-BE49-F238E27FC236}">
                  <a16:creationId xmlns:a16="http://schemas.microsoft.com/office/drawing/2014/main" id="{770B2BB5-0120-4D55-86E9-3209E288BEAB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EC286F60-7DA8-4F1B-9048-20E77B1911F1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E6036799-5BC4-4C30-A6FE-ABD86877A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40F3B7FD-A4A4-4825-A1F3-1678EA716B9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9155" y="1033891"/>
            <a:ext cx="1964845" cy="3842751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FEC4320-23DE-455B-BBE0-088B36A0080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31057" y="983169"/>
            <a:ext cx="623094" cy="3873206"/>
          </a:xfrm>
          <a:prstGeom prst="rect">
            <a:avLst/>
          </a:prstGeom>
        </p:spPr>
      </p:pic>
      <p:sp>
        <p:nvSpPr>
          <p:cNvPr id="24" name="Rechteck 23" hidden="1">
            <a:extLst>
              <a:ext uri="{FF2B5EF4-FFF2-40B4-BE49-F238E27FC236}">
                <a16:creationId xmlns:a16="http://schemas.microsoft.com/office/drawing/2014/main" id="{541A08DF-C031-4CBA-B9CA-C9469886E6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84DC00F-767A-42F8-A4F8-0F6470FDAA41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5" name="Flussdiagramm: Daten 1">
              <a:extLst>
                <a:ext uri="{FF2B5EF4-FFF2-40B4-BE49-F238E27FC236}">
                  <a16:creationId xmlns:a16="http://schemas.microsoft.com/office/drawing/2014/main" id="{EFB589E5-4597-40CF-A917-BD8A77C221D5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5D9FB6BF-B4A7-49A6-8CF8-A44A912B27BE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19EF000-92F7-497D-B53C-67F260EE9E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pic>
        <p:nvPicPr>
          <p:cNvPr id="42" name="Grafik 41">
            <a:extLst>
              <a:ext uri="{FF2B5EF4-FFF2-40B4-BE49-F238E27FC236}">
                <a16:creationId xmlns:a16="http://schemas.microsoft.com/office/drawing/2014/main" id="{2E2E94BC-13D6-4EFA-A891-1D03FCC30A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9155" y="1033891"/>
            <a:ext cx="1964845" cy="3842751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49E044A3-D1B9-4B71-8A16-D97044FE34A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31057" y="983169"/>
            <a:ext cx="623094" cy="3873206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3956236-AC26-4B4A-B351-AFD6520C006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2B3839E-DF85-42B1-AC50-9FC8604550A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E5CA04-623C-47C5-BFB3-1628FCA1DA7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2C8F43-1D39-46D4-82C7-0F52921AF6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0865041"/>
      </p:ext>
    </p:extLst>
  </p:cSld>
  <p:clrMapOvr>
    <a:masterClrMapping/>
  </p:clrMapOvr>
  <p:transition spd="slow" advClick="0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Untertitel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69714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0" y="1059656"/>
            <a:ext cx="2088000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804025" y="1059656"/>
            <a:ext cx="2088564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3"/>
          </p:nvPr>
        </p:nvSpPr>
        <p:spPr>
          <a:xfrm>
            <a:off x="2484438" y="1060450"/>
            <a:ext cx="208732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5"/>
          </p:nvPr>
        </p:nvSpPr>
        <p:spPr>
          <a:xfrm>
            <a:off x="4644008" y="1059656"/>
            <a:ext cx="208775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40820" cy="648000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17"/>
          </p:nvPr>
        </p:nvSpPr>
        <p:spPr>
          <a:xfrm>
            <a:off x="323999" y="1707656"/>
            <a:ext cx="2087413" cy="3069557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100" baseline="0">
                <a:solidFill>
                  <a:schemeClr val="tx1"/>
                </a:solidFill>
                <a:latin typeface="+mn-lt"/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0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0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4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8"/>
          </p:nvPr>
        </p:nvSpPr>
        <p:spPr>
          <a:xfrm>
            <a:off x="2484439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 smtClean="0">
                <a:solidFill>
                  <a:schemeClr val="tx1"/>
                </a:solidFill>
                <a:latin typeface="+mn-lt"/>
              </a:defRPr>
            </a:lvl1pPr>
            <a:lvl2pPr>
              <a:defRPr lang="de-DE" sz="11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de-DE" sz="100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 smtClean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3" name="Inhaltsplatzhalter 3"/>
          <p:cNvSpPr>
            <a:spLocks noGrp="1"/>
          </p:cNvSpPr>
          <p:nvPr>
            <p:ph sz="half" idx="19"/>
          </p:nvPr>
        </p:nvSpPr>
        <p:spPr>
          <a:xfrm>
            <a:off x="4643057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>
                <a:solidFill>
                  <a:schemeClr val="tx1"/>
                </a:solidFill>
                <a:latin typeface="+mn-lt"/>
              </a:defRPr>
            </a:lvl1pPr>
            <a:lvl2pPr>
              <a:defRPr lang="de-DE" sz="1100">
                <a:solidFill>
                  <a:schemeClr val="tx1"/>
                </a:solidFill>
                <a:latin typeface="+mn-lt"/>
              </a:defRPr>
            </a:lvl2pPr>
            <a:lvl3pPr>
              <a:defRPr lang="de-DE" sz="1000">
                <a:solidFill>
                  <a:schemeClr val="tx1"/>
                </a:solidFill>
                <a:latin typeface="+mn-lt"/>
              </a:defRPr>
            </a:lvl3pPr>
            <a:lvl4pPr>
              <a:defRPr lang="de-DE" sz="100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4" name="Inhaltsplatzhalter 3"/>
          <p:cNvSpPr>
            <a:spLocks noGrp="1"/>
          </p:cNvSpPr>
          <p:nvPr>
            <p:ph sz="half" idx="20"/>
          </p:nvPr>
        </p:nvSpPr>
        <p:spPr>
          <a:xfrm>
            <a:off x="6803280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>
                <a:solidFill>
                  <a:schemeClr val="tx1"/>
                </a:solidFill>
                <a:latin typeface="+mn-lt"/>
              </a:defRPr>
            </a:lvl1pPr>
            <a:lvl2pPr>
              <a:defRPr lang="de-DE" sz="1100">
                <a:solidFill>
                  <a:schemeClr val="tx1"/>
                </a:solidFill>
                <a:latin typeface="+mn-lt"/>
              </a:defRPr>
            </a:lvl2pPr>
            <a:lvl3pPr>
              <a:defRPr lang="de-DE" sz="1000">
                <a:solidFill>
                  <a:schemeClr val="tx1"/>
                </a:solidFill>
                <a:latin typeface="+mn-lt"/>
              </a:defRPr>
            </a:lvl3pPr>
            <a:lvl4pPr>
              <a:defRPr lang="de-DE" sz="100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1537458F-4908-4222-BAC3-C171D0A619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BF6E4125-D202-413E-8DB7-2648D5E457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D97FFC0-276A-4390-AEA6-1863457027A6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1" name="Flussdiagramm: Daten 1">
              <a:extLst>
                <a:ext uri="{FF2B5EF4-FFF2-40B4-BE49-F238E27FC236}">
                  <a16:creationId xmlns:a16="http://schemas.microsoft.com/office/drawing/2014/main" id="{0CDC6EB9-E51E-49DD-A435-A3C165BEDAEB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EE94FA94-56BF-434F-8116-2AB78A226A2E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0080389A-5018-47F7-9B6D-ECC61935D42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6" name="Rechteck 25" hidden="1">
            <a:extLst>
              <a:ext uri="{FF2B5EF4-FFF2-40B4-BE49-F238E27FC236}">
                <a16:creationId xmlns:a16="http://schemas.microsoft.com/office/drawing/2014/main" id="{7C1538E4-A3A0-425D-A288-145C03CC20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A33B65C-3349-4805-80DD-AD316EC62056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3" name="Flussdiagramm: Daten 1">
              <a:extLst>
                <a:ext uri="{FF2B5EF4-FFF2-40B4-BE49-F238E27FC236}">
                  <a16:creationId xmlns:a16="http://schemas.microsoft.com/office/drawing/2014/main" id="{5B7BA5C1-9E3A-4B93-97A8-D3EAA578949F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AAD9F06C-ECE9-4A40-A56E-8D849BDECFDC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2C2E1F1F-FA7B-4247-8A5B-F3400FAE0E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F8661D-FE02-4738-A804-BCBBEB578E93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F5CC23E6-A05F-4215-800E-2E0F4D2D097D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5B75019-029F-4B40-B3AA-6DA96B96F1F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A7D9646-8A10-45F4-ABF8-B118E554C60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9153498"/>
      </p:ext>
    </p:extLst>
  </p:cSld>
  <p:clrMapOvr>
    <a:masterClrMapping/>
  </p:clrMapOvr>
  <p:transition spd="slow" advClick="0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otschaft Untertitel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788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0" y="1059656"/>
            <a:ext cx="2088000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804025" y="1059656"/>
            <a:ext cx="2088564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3"/>
          </p:nvPr>
        </p:nvSpPr>
        <p:spPr>
          <a:xfrm>
            <a:off x="2484438" y="1060450"/>
            <a:ext cx="208732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5"/>
          </p:nvPr>
        </p:nvSpPr>
        <p:spPr>
          <a:xfrm>
            <a:off x="4644008" y="1059656"/>
            <a:ext cx="208775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40820" cy="648000"/>
          </a:xfrm>
          <a:noFill/>
        </p:spPr>
        <p:txBody>
          <a:bodyPr vert="horz">
            <a:normAutofit/>
          </a:bodyPr>
          <a:lstStyle>
            <a:lvl1pPr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17"/>
          </p:nvPr>
        </p:nvSpPr>
        <p:spPr>
          <a:xfrm>
            <a:off x="323999" y="1707656"/>
            <a:ext cx="2087413" cy="3069557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100" baseline="0">
                <a:solidFill>
                  <a:schemeClr val="tx1"/>
                </a:solidFill>
                <a:latin typeface="+mn-lt"/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0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000" baseline="0">
                <a:solidFill>
                  <a:schemeClr val="tx1"/>
                </a:solidFill>
                <a:latin typeface="+mn-lt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4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8"/>
          </p:nvPr>
        </p:nvSpPr>
        <p:spPr>
          <a:xfrm>
            <a:off x="2484439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 smtClean="0">
                <a:solidFill>
                  <a:schemeClr val="tx1"/>
                </a:solidFill>
                <a:latin typeface="+mn-lt"/>
              </a:defRPr>
            </a:lvl1pPr>
            <a:lvl2pPr>
              <a:defRPr lang="de-DE" sz="11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de-DE" sz="100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 smtClean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3" name="Inhaltsplatzhalter 3"/>
          <p:cNvSpPr>
            <a:spLocks noGrp="1"/>
          </p:cNvSpPr>
          <p:nvPr>
            <p:ph sz="half" idx="19"/>
          </p:nvPr>
        </p:nvSpPr>
        <p:spPr>
          <a:xfrm>
            <a:off x="4643057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>
                <a:solidFill>
                  <a:schemeClr val="tx1"/>
                </a:solidFill>
                <a:latin typeface="+mn-lt"/>
              </a:defRPr>
            </a:lvl1pPr>
            <a:lvl2pPr>
              <a:defRPr lang="de-DE" sz="1100">
                <a:solidFill>
                  <a:schemeClr val="tx1"/>
                </a:solidFill>
                <a:latin typeface="+mn-lt"/>
              </a:defRPr>
            </a:lvl2pPr>
            <a:lvl3pPr>
              <a:defRPr lang="de-DE" sz="1000">
                <a:solidFill>
                  <a:schemeClr val="tx1"/>
                </a:solidFill>
                <a:latin typeface="+mn-lt"/>
              </a:defRPr>
            </a:lvl3pPr>
            <a:lvl4pPr>
              <a:defRPr lang="de-DE" sz="100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4" name="Inhaltsplatzhalter 3"/>
          <p:cNvSpPr>
            <a:spLocks noGrp="1"/>
          </p:cNvSpPr>
          <p:nvPr>
            <p:ph sz="half" idx="20"/>
          </p:nvPr>
        </p:nvSpPr>
        <p:spPr>
          <a:xfrm>
            <a:off x="6803280" y="1707656"/>
            <a:ext cx="2088000" cy="3069557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>
                <a:solidFill>
                  <a:schemeClr val="tx1"/>
                </a:solidFill>
                <a:latin typeface="+mn-lt"/>
              </a:defRPr>
            </a:lvl1pPr>
            <a:lvl2pPr>
              <a:defRPr lang="de-DE" sz="1100">
                <a:solidFill>
                  <a:schemeClr val="tx1"/>
                </a:solidFill>
                <a:latin typeface="+mn-lt"/>
              </a:defRPr>
            </a:lvl2pPr>
            <a:lvl3pPr>
              <a:defRPr lang="de-DE" sz="1000">
                <a:solidFill>
                  <a:schemeClr val="tx1"/>
                </a:solidFill>
                <a:latin typeface="+mn-lt"/>
              </a:defRPr>
            </a:lvl3pPr>
            <a:lvl4pPr>
              <a:defRPr lang="de-DE" sz="100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1537458F-4908-4222-BAC3-C171D0A619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BF6E4125-D202-413E-8DB7-2648D5E457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D97FFC0-276A-4390-AEA6-1863457027A6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1" name="Flussdiagramm: Daten 1">
              <a:extLst>
                <a:ext uri="{FF2B5EF4-FFF2-40B4-BE49-F238E27FC236}">
                  <a16:creationId xmlns:a16="http://schemas.microsoft.com/office/drawing/2014/main" id="{0CDC6EB9-E51E-49DD-A435-A3C165BEDAEB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EE94FA94-56BF-434F-8116-2AB78A226A2E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0080389A-5018-47F7-9B6D-ECC61935D42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6" name="Rechteck 25" hidden="1">
            <a:extLst>
              <a:ext uri="{FF2B5EF4-FFF2-40B4-BE49-F238E27FC236}">
                <a16:creationId xmlns:a16="http://schemas.microsoft.com/office/drawing/2014/main" id="{4249FD08-68C1-48EA-8016-CEDEEFFF63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52D807B-C342-4C4A-9E12-2467A976F90E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3" name="Flussdiagramm: Daten 1">
              <a:extLst>
                <a:ext uri="{FF2B5EF4-FFF2-40B4-BE49-F238E27FC236}">
                  <a16:creationId xmlns:a16="http://schemas.microsoft.com/office/drawing/2014/main" id="{1A01959D-0CE7-4026-9DD9-809083C83BD4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A269D593-F293-493F-81CA-B2FA825A43CB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EE7F782-C3F2-4E1C-ACE2-517AB725E7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B2E0D8-C2F2-4831-A3B0-F1B3326340FD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037CF75A-BD8E-475A-B666-64C1C38F97C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21F335C-8484-4763-B8D6-1078030BF77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A3E97D1-42A7-42B3-AC8B-82F2F944965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7762554"/>
      </p:ext>
    </p:extLst>
  </p:cSld>
  <p:clrMapOvr>
    <a:masterClrMapping/>
  </p:clrMapOvr>
  <p:transition spd="slow" advClick="0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Bild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49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40820" cy="648000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17"/>
          </p:nvPr>
        </p:nvSpPr>
        <p:spPr>
          <a:xfrm>
            <a:off x="323999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>
                <a:solidFill>
                  <a:schemeClr val="tx1"/>
                </a:solidFill>
                <a:latin typeface="+mn-lt"/>
              </a:defRPr>
            </a:lvl1pPr>
            <a:lvl3pPr>
              <a:defRPr lang="de-DE" sz="1000" dirty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lang="de-DE" sz="1000" baseline="0" dirty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</a:defRPr>
            </a:lvl6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8"/>
          </p:nvPr>
        </p:nvSpPr>
        <p:spPr>
          <a:xfrm>
            <a:off x="2501031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>
                <a:solidFill>
                  <a:schemeClr val="tx1"/>
                </a:solidFill>
                <a:latin typeface="+mn-lt"/>
              </a:defRPr>
            </a:lvl1pPr>
            <a:lvl3pPr>
              <a:defRPr lang="de-DE" sz="1000" dirty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lang="de-DE" sz="1000" baseline="0" dirty="0">
                <a:solidFill>
                  <a:schemeClr val="tx1"/>
                </a:solidFill>
                <a:ea typeface="Source Sans Pro Light" charset="0"/>
                <a:cs typeface="Source Sans Pro Light" charset="0"/>
              </a:defRPr>
            </a:lvl6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3" name="Inhaltsplatzhalter 3"/>
          <p:cNvSpPr>
            <a:spLocks noGrp="1"/>
          </p:cNvSpPr>
          <p:nvPr>
            <p:ph sz="half" idx="19"/>
          </p:nvPr>
        </p:nvSpPr>
        <p:spPr>
          <a:xfrm>
            <a:off x="4656705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>
                <a:solidFill>
                  <a:schemeClr val="tx1"/>
                </a:solidFill>
                <a:latin typeface="+mn-lt"/>
              </a:defRPr>
            </a:lvl1pPr>
            <a:lvl3pPr>
              <a:defRPr lang="de-DE" sz="1000" dirty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lang="de-DE" sz="1000" baseline="0" dirty="0">
                <a:solidFill>
                  <a:schemeClr val="tx1"/>
                </a:solidFill>
                <a:ea typeface="Source Sans Pro Light" charset="0"/>
                <a:cs typeface="Source Sans Pro Light" charset="0"/>
              </a:defRPr>
            </a:lvl6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22"/>
          </p:nvPr>
        </p:nvSpPr>
        <p:spPr>
          <a:xfrm>
            <a:off x="647705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Bildplatzhalter 5"/>
          <p:cNvSpPr>
            <a:spLocks noGrp="1"/>
          </p:cNvSpPr>
          <p:nvPr>
            <p:ph type="pic" sz="quarter" idx="23"/>
          </p:nvPr>
        </p:nvSpPr>
        <p:spPr>
          <a:xfrm>
            <a:off x="2824737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Bildplatzhalter 5"/>
          <p:cNvSpPr>
            <a:spLocks noGrp="1"/>
          </p:cNvSpPr>
          <p:nvPr>
            <p:ph type="pic" sz="quarter" idx="24"/>
          </p:nvPr>
        </p:nvSpPr>
        <p:spPr>
          <a:xfrm>
            <a:off x="4980411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Bildplatzhalter 5"/>
          <p:cNvSpPr>
            <a:spLocks noGrp="1"/>
          </p:cNvSpPr>
          <p:nvPr>
            <p:ph type="pic" sz="quarter" idx="25"/>
          </p:nvPr>
        </p:nvSpPr>
        <p:spPr>
          <a:xfrm>
            <a:off x="7136085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EC153EB5-7038-4AF6-B2F1-E3EF47EC40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E512B693-91EA-4FB3-98B9-E40D8B676A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A84E760B-C1BA-4D2A-BB94-36CE85272C7D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6812379" y="264596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>
                <a:solidFill>
                  <a:schemeClr val="tx1"/>
                </a:solidFill>
                <a:latin typeface="+mn-lt"/>
              </a:defRPr>
            </a:lvl1pPr>
            <a:lvl3pPr>
              <a:defRPr lang="de-DE" sz="1000" dirty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lang="de-DE" sz="1000" baseline="0" dirty="0">
                <a:solidFill>
                  <a:schemeClr val="tx1"/>
                </a:solidFill>
                <a:ea typeface="Source Sans Pro Light" charset="0"/>
                <a:cs typeface="Source Sans Pro Light" charset="0"/>
              </a:defRPr>
            </a:lvl6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BE62F973-7439-4C40-9772-CEA2CA493BFC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5" name="Flussdiagramm: Daten 1">
              <a:extLst>
                <a:ext uri="{FF2B5EF4-FFF2-40B4-BE49-F238E27FC236}">
                  <a16:creationId xmlns:a16="http://schemas.microsoft.com/office/drawing/2014/main" id="{56C26599-5553-48F6-9EDE-D60E197C1F78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C807B808-626D-4451-BA51-533457A548D0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0CADF7CC-5CB7-4D11-9304-09611BCEF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4" name="Rechteck 23" hidden="1">
            <a:extLst>
              <a:ext uri="{FF2B5EF4-FFF2-40B4-BE49-F238E27FC236}">
                <a16:creationId xmlns:a16="http://schemas.microsoft.com/office/drawing/2014/main" id="{8D5E0E76-216A-4CA5-879D-E2CD9B485F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B61136C3-9483-42BA-9ECC-2274E0ABF875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5FDFC56B-F151-497B-94A0-6F4B058E5172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659B25E6-DD84-4C43-A4B9-D413C2FF3F23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73C4EBF0-1074-42BE-9ACD-6F39DB8110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6217FD-0BAD-4654-98B0-98C4314F9924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B8AE6C48-4AF7-447F-AE3C-DD6174F1980F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660B32-8D3D-4164-A3A9-F0CD8108F39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FB6CCF-D200-4E7F-B280-EF90EB9A1A9A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9705622"/>
      </p:ext>
    </p:extLst>
  </p:cSld>
  <p:clrMapOvr>
    <a:masterClrMapping/>
  </p:clrMapOvr>
  <p:transition spd="slow" advClick="0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Titelfoli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A61C0E4-8E15-4A53-BD18-8A5C6F4704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52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A61C0E4-8E15-4A53-BD18-8A5C6F470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9365A842-68B1-564C-9DB3-6B3CB62E1FC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609"/>
          <a:stretch/>
        </p:blipFill>
        <p:spPr>
          <a:xfrm>
            <a:off x="712095" y="0"/>
            <a:ext cx="8431905" cy="51435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5D61BED-6393-D641-8718-8AFBA82CA8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3494" y="-1"/>
            <a:ext cx="3864576" cy="515169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8F3A326D-DABA-4846-AD7E-BBCADC3FE80D}"/>
              </a:ext>
            </a:extLst>
          </p:cNvPr>
          <p:cNvSpPr/>
          <p:nvPr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latin typeface="Source Sans Pro" charset="0"/>
            </a:endParaRP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56EF7832-DC8F-4773-9A4E-F2ABEBCA8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5" y="2463210"/>
            <a:ext cx="3278059" cy="1750979"/>
          </a:xfr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de-DE" sz="2400">
                <a:solidFill>
                  <a:srgbClr val="009B3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pPr marL="0" lvl="0" defTabSz="914400">
              <a:lnSpc>
                <a:spcPct val="90000"/>
              </a:lnSpc>
            </a:pPr>
            <a:r>
              <a:rPr lang="de-DE" dirty="0"/>
              <a:t>Mastertitelformat bearbeiten mit Text, bis zu drei Zeil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55FA9A59-3368-8B4C-B65E-205FA48A53E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B220EC9B-F4E9-4C81-A539-ECC5C28F58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4214813"/>
            <a:ext cx="3278187" cy="4587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2pPr>
            <a:lvl3pPr marL="98550" indent="0">
              <a:buFontTx/>
              <a:buNone/>
              <a:defRPr/>
            </a:lvl3pPr>
            <a:lvl4pPr marL="233550" indent="0">
              <a:buFontTx/>
              <a:buNone/>
              <a:defRPr/>
            </a:lvl4pPr>
            <a:lvl5pPr marL="638550" indent="0">
              <a:buFontTx/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  <a:p>
            <a:pPr lvl="1"/>
            <a:endParaRPr lang="de-DE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EE873130-4927-4FAD-8F9F-91B43C2168EB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0" name="Flussdiagramm: Daten 1">
              <a:extLst>
                <a:ext uri="{FF2B5EF4-FFF2-40B4-BE49-F238E27FC236}">
                  <a16:creationId xmlns:a16="http://schemas.microsoft.com/office/drawing/2014/main" id="{AFF4484B-E177-4CCA-8E82-A8FF2258A996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868CA0C4-414A-4519-9C50-A841641B2467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C7B470BA-4C84-40C3-AE6A-45400E135B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489B18A5-2F5A-4E1D-9C0C-82C9F1AAE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64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92" imgH="591" progId="TCLayout.ActiveDocument.1">
                  <p:embed/>
                </p:oleObj>
              </mc:Choice>
              <mc:Fallback>
                <p:oleObj name="think-cell Folie" r:id="rId12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489B18A5-2F5A-4E1D-9C0C-82C9F1AAE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727F3429-FABA-4274-B706-9190C315374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0D71F21F-A740-405F-9B03-F9228C6B51C4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5" name="Flussdiagramm: Daten 1">
              <a:extLst>
                <a:ext uri="{FF2B5EF4-FFF2-40B4-BE49-F238E27FC236}">
                  <a16:creationId xmlns:a16="http://schemas.microsoft.com/office/drawing/2014/main" id="{AF948EC9-CFE3-4EBD-BACC-EC3D2725FBED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61540CD4-23F0-4C77-BC2A-B7A3736CBF87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8329385E-99DB-43A8-AEB5-EDEA876D0D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EB04F9E-B681-4939-BEEB-C943673AC98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E2291EF-10C8-471D-A6BF-0D84C0DB8C5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C9DE42D-370C-4355-AB20-C0A0DE31286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BF87E7C-BC3B-4129-BC96-592DF96ECC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216564"/>
      </p:ext>
    </p:extLst>
  </p:cSld>
  <p:clrMapOvr>
    <a:masterClrMapping/>
  </p:clrMapOvr>
  <p:transition spd="slow" advClick="0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otschaft Bild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64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252085" cy="648000"/>
          </a:xfrm>
          <a:noFill/>
        </p:spPr>
        <p:txBody>
          <a:bodyPr vert="horz">
            <a:normAutofit/>
          </a:bodyPr>
          <a:lstStyle>
            <a:lvl1pPr>
              <a:defRPr sz="16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17"/>
          </p:nvPr>
        </p:nvSpPr>
        <p:spPr>
          <a:xfrm>
            <a:off x="323999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>
                <a:solidFill>
                  <a:schemeClr val="tx1"/>
                </a:solidFill>
                <a:latin typeface="+mn-lt"/>
              </a:defRPr>
            </a:lvl1pPr>
            <a:lvl3pPr>
              <a:defRPr lang="de-DE" sz="1000" dirty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lang="de-DE" sz="1000" baseline="0" dirty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</a:defRPr>
            </a:lvl6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8"/>
          </p:nvPr>
        </p:nvSpPr>
        <p:spPr>
          <a:xfrm>
            <a:off x="2501031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>
                <a:solidFill>
                  <a:schemeClr val="tx1"/>
                </a:solidFill>
                <a:latin typeface="+mn-lt"/>
              </a:defRPr>
            </a:lvl1pPr>
            <a:lvl3pPr>
              <a:defRPr lang="de-DE" sz="1000" dirty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lang="de-DE" sz="1000" baseline="0" dirty="0">
                <a:solidFill>
                  <a:schemeClr val="tx1"/>
                </a:solidFill>
                <a:ea typeface="Source Sans Pro Light" charset="0"/>
                <a:cs typeface="Source Sans Pro Light" charset="0"/>
              </a:defRPr>
            </a:lvl6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3" name="Inhaltsplatzhalter 3"/>
          <p:cNvSpPr>
            <a:spLocks noGrp="1"/>
          </p:cNvSpPr>
          <p:nvPr>
            <p:ph sz="half" idx="19"/>
          </p:nvPr>
        </p:nvSpPr>
        <p:spPr>
          <a:xfrm>
            <a:off x="4656705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>
                <a:solidFill>
                  <a:schemeClr val="tx1"/>
                </a:solidFill>
                <a:latin typeface="+mn-lt"/>
              </a:defRPr>
            </a:lvl1pPr>
            <a:lvl3pPr>
              <a:defRPr lang="de-DE" sz="1000" dirty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lang="de-DE" sz="1000" baseline="0" dirty="0">
                <a:solidFill>
                  <a:schemeClr val="tx1"/>
                </a:solidFill>
                <a:ea typeface="Source Sans Pro Light" charset="0"/>
                <a:cs typeface="Source Sans Pro Light" charset="0"/>
              </a:defRPr>
            </a:lvl6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22"/>
          </p:nvPr>
        </p:nvSpPr>
        <p:spPr>
          <a:xfrm>
            <a:off x="647705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Bildplatzhalter 5"/>
          <p:cNvSpPr>
            <a:spLocks noGrp="1"/>
          </p:cNvSpPr>
          <p:nvPr>
            <p:ph type="pic" sz="quarter" idx="23"/>
          </p:nvPr>
        </p:nvSpPr>
        <p:spPr>
          <a:xfrm>
            <a:off x="2824737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Bildplatzhalter 5"/>
          <p:cNvSpPr>
            <a:spLocks noGrp="1"/>
          </p:cNvSpPr>
          <p:nvPr>
            <p:ph type="pic" sz="quarter" idx="24"/>
          </p:nvPr>
        </p:nvSpPr>
        <p:spPr>
          <a:xfrm>
            <a:off x="4980411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Bildplatzhalter 5"/>
          <p:cNvSpPr>
            <a:spLocks noGrp="1"/>
          </p:cNvSpPr>
          <p:nvPr>
            <p:ph type="pic" sz="quarter" idx="25"/>
          </p:nvPr>
        </p:nvSpPr>
        <p:spPr>
          <a:xfrm>
            <a:off x="7136085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EC153EB5-7038-4AF6-B2F1-E3EF47EC40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E512B693-91EA-4FB3-98B9-E40D8B676A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A84E760B-C1BA-4D2A-BB94-36CE85272C7D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6812379" y="264596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>
              <a:defRPr lang="de-DE" sz="1200" dirty="0">
                <a:solidFill>
                  <a:schemeClr val="tx1"/>
                </a:solidFill>
                <a:latin typeface="+mn-lt"/>
              </a:defRPr>
            </a:lvl1pPr>
            <a:lvl3pPr>
              <a:defRPr lang="de-DE" sz="1000" dirty="0">
                <a:solidFill>
                  <a:schemeClr val="tx1"/>
                </a:solidFill>
                <a:latin typeface="+mn-lt"/>
              </a:defRPr>
            </a:lvl3pPr>
            <a:lvl4pPr>
              <a:defRPr lang="de-DE" sz="1000" dirty="0">
                <a:solidFill>
                  <a:schemeClr val="tx1"/>
                </a:solidFill>
                <a:latin typeface="+mn-lt"/>
              </a:defRPr>
            </a:lvl4pPr>
            <a:lvl5pPr>
              <a:defRPr lang="de-DE" sz="1000" dirty="0">
                <a:solidFill>
                  <a:schemeClr val="tx1"/>
                </a:solidFill>
                <a:latin typeface="+mn-lt"/>
              </a:defRPr>
            </a:lvl5pPr>
            <a:lvl6pPr>
              <a:defRPr lang="de-DE" sz="1000" baseline="0" dirty="0">
                <a:solidFill>
                  <a:schemeClr val="tx1"/>
                </a:solidFill>
                <a:ea typeface="Source Sans Pro Light" charset="0"/>
                <a:cs typeface="Source Sans Pro Light" charset="0"/>
              </a:defRPr>
            </a:lvl6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9A0FC7A4-83E9-4AAF-A99A-ED5D9EB46384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5" name="Flussdiagramm: Daten 1">
              <a:extLst>
                <a:ext uri="{FF2B5EF4-FFF2-40B4-BE49-F238E27FC236}">
                  <a16:creationId xmlns:a16="http://schemas.microsoft.com/office/drawing/2014/main" id="{4A5E8AEA-1396-4554-BD76-DF13F9D1EF18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42025733-7B0C-43B7-91D5-C2C580C38BD9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58DBC795-9588-48A4-B32D-0720BF6B8A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4" name="Rechteck 23" hidden="1">
            <a:extLst>
              <a:ext uri="{FF2B5EF4-FFF2-40B4-BE49-F238E27FC236}">
                <a16:creationId xmlns:a16="http://schemas.microsoft.com/office/drawing/2014/main" id="{02EFCB99-8B85-4E14-B25C-13D1783A13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6A4C7E1-A79A-4321-92C2-605FD7A9CB66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8" name="Flussdiagramm: Daten 1">
              <a:extLst>
                <a:ext uri="{FF2B5EF4-FFF2-40B4-BE49-F238E27FC236}">
                  <a16:creationId xmlns:a16="http://schemas.microsoft.com/office/drawing/2014/main" id="{31F6C3CA-F559-4636-8B74-195CBC12E8D8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61D1731E-F8EE-40CA-98E6-E5B06C326183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DEE96F10-CE42-4A2F-9D58-B8AD9B1AA1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E0553EE-6E09-4B9C-B1AB-8046ED9FFBB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B017EEB0-31C4-480C-8692-C83F0C4C997A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4FE468-3767-4789-93FC-FE32E23EF84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E642D2-CE9F-47E3-8B54-DA15024F01A8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1015302"/>
      </p:ext>
    </p:extLst>
  </p:cSld>
  <p:clrMapOvr>
    <a:masterClrMapping/>
  </p:clrMapOvr>
  <p:transition spd="slow" advClick="0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377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/>
        </p:nvSpPr>
        <p:spPr>
          <a:xfrm>
            <a:off x="6816534" y="3176"/>
            <a:ext cx="2326031" cy="4857272"/>
          </a:xfrm>
          <a:prstGeom prst="rect">
            <a:avLst/>
          </a:prstGeom>
          <a:solidFill>
            <a:srgbClr val="009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2492131" y="1357533"/>
            <a:ext cx="2000579" cy="323775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6815100" y="0"/>
            <a:ext cx="2327466" cy="9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4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idx="23" hasCustomPrompt="1"/>
          </p:nvPr>
        </p:nvSpPr>
        <p:spPr>
          <a:xfrm>
            <a:off x="4651998" y="1357534"/>
            <a:ext cx="2007261" cy="3237755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6408588" cy="303171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1" name="Inhaltsplatzhalter 2"/>
          <p:cNvSpPr>
            <a:spLocks noGrp="1"/>
          </p:cNvSpPr>
          <p:nvPr>
            <p:ph idx="29" hasCustomPrompt="1"/>
          </p:nvPr>
        </p:nvSpPr>
        <p:spPr>
          <a:xfrm>
            <a:off x="324000" y="1357533"/>
            <a:ext cx="2009140" cy="323775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8" name="Inhaltsplatzhalter 2"/>
          <p:cNvSpPr>
            <a:spLocks noGrp="1"/>
          </p:cNvSpPr>
          <p:nvPr>
            <p:ph idx="30" hasCustomPrompt="1"/>
          </p:nvPr>
        </p:nvSpPr>
        <p:spPr>
          <a:xfrm>
            <a:off x="6916715" y="1357534"/>
            <a:ext cx="2068576" cy="34287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rgbClr val="FFFEFF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rgbClr val="FFFEFF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rgbClr val="FFFEFF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40" name="Textplatzhalter 2"/>
          <p:cNvSpPr>
            <a:spLocks noGrp="1"/>
          </p:cNvSpPr>
          <p:nvPr>
            <p:ph type="body" idx="10"/>
          </p:nvPr>
        </p:nvSpPr>
        <p:spPr>
          <a:xfrm>
            <a:off x="324000" y="634638"/>
            <a:ext cx="6408588" cy="2737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4600237"/>
            <a:ext cx="6335259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1" hasCustomPrompt="1"/>
          </p:nvPr>
        </p:nvSpPr>
        <p:spPr>
          <a:xfrm>
            <a:off x="322263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rgbClr val="009A3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490900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rgbClr val="009A3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33" hasCustomPrompt="1"/>
          </p:nvPr>
        </p:nvSpPr>
        <p:spPr>
          <a:xfrm>
            <a:off x="4648941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rgbClr val="009A3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34" hasCustomPrompt="1"/>
          </p:nvPr>
        </p:nvSpPr>
        <p:spPr>
          <a:xfrm>
            <a:off x="6915280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rgbClr val="FFFEFF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6FB6BA9D-05ED-4326-80FD-20B8B00EDEF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EBA849B-2F96-4F63-BD1E-B778F1C840C8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fld id="{58D4DB4C-A0AB-44BD-A4B7-8A24D3704950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A947D6-A513-4432-9E4F-985CFA5D42D7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F6687D9-EBBB-4F4B-97E6-2C1E4D4E7F66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5013637"/>
      </p:ext>
    </p:extLst>
  </p:cSld>
  <p:clrMapOvr>
    <a:masterClrMapping/>
  </p:clrMapOvr>
  <p:transition spd="slow" advClick="0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_Titel W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3963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ECAC137D-DFD2-4D70-96F8-850B5E6C1F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F853984-4ADC-0C44-BD88-5804DBF90066}"/>
              </a:ext>
            </a:extLst>
          </p:cNvPr>
          <p:cNvSpPr/>
          <p:nvPr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A1817DD9-EB3A-49E2-AAF7-1C68146C6C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985032"/>
            <a:ext cx="1691777" cy="3872308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32EC598A-63EC-4490-81E4-E5F2E313662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2560" y="984135"/>
            <a:ext cx="2633488" cy="3873206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9D1A13B3-01D4-4FBF-8D98-13B76A2DE7E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557" y="2205352"/>
            <a:ext cx="1223628" cy="954015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5F480EA-E036-4C03-ABD4-1086F000ED9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64693" y="979622"/>
            <a:ext cx="1155821" cy="3873206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4DA098A0-8FA2-4B6D-BAE3-37F12C130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20675"/>
            <a:ext cx="8240970" cy="612286"/>
          </a:xfrm>
          <a:noFill/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43076CE-85F6-4ABF-8D62-89645606C12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44494" y="984250"/>
            <a:ext cx="5026194" cy="386873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de-DE" sz="1600" smtClean="0">
                <a:solidFill>
                  <a:schemeClr val="tx1"/>
                </a:solidFill>
                <a:latin typeface="+mn-lt"/>
              </a:defRPr>
            </a:lvl1pPr>
            <a:lvl2pPr>
              <a:defRPr lang="de-DE" sz="1600" smtClean="0">
                <a:solidFill>
                  <a:schemeClr val="tx1"/>
                </a:solidFill>
                <a:latin typeface="+mn-lt"/>
              </a:defRPr>
            </a:lvl2pPr>
            <a:lvl3pPr>
              <a:defRPr lang="de-DE" sz="1600" smtClean="0">
                <a:solidFill>
                  <a:schemeClr val="tx1"/>
                </a:solidFill>
                <a:latin typeface="+mn-lt"/>
              </a:defRPr>
            </a:lvl3pPr>
            <a:lvl4pPr>
              <a:defRPr lang="de-DE" sz="1400" smtClean="0">
                <a:solidFill>
                  <a:schemeClr val="tx1"/>
                </a:solidFill>
                <a:latin typeface="+mn-lt"/>
              </a:defRPr>
            </a:lvl4pPr>
            <a:lvl5pPr>
              <a:defRPr lang="de-DE" sz="1200">
                <a:solidFill>
                  <a:schemeClr val="tx1"/>
                </a:solidFill>
                <a:latin typeface="Source Sans Pro" panose="020B0503030403020204" pitchFamily="34" charset="0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30DE1D36-844D-44FE-A8A5-684A48E42F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6797E5EF-3575-431A-A0AA-F86B2E98CD9A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6" name="Flussdiagramm: Daten 1">
              <a:extLst>
                <a:ext uri="{FF2B5EF4-FFF2-40B4-BE49-F238E27FC236}">
                  <a16:creationId xmlns:a16="http://schemas.microsoft.com/office/drawing/2014/main" id="{26B635BD-F05E-4D84-845E-0B623EEA5331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1E3B9F34-AA36-4933-B2EF-B06AAC100C0F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F6489B6F-E338-49FF-9547-76A3778B30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9" name="Rechteck 18" hidden="1">
            <a:extLst>
              <a:ext uri="{FF2B5EF4-FFF2-40B4-BE49-F238E27FC236}">
                <a16:creationId xmlns:a16="http://schemas.microsoft.com/office/drawing/2014/main" id="{3FE9821D-E504-40CC-A460-53E9D37AD9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F75644-8D02-4A79-9730-A2AC274C7E4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985032"/>
            <a:ext cx="1691777" cy="3872308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B383EEFE-566B-4BFE-8616-73BE59DB83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2560" y="984135"/>
            <a:ext cx="2633488" cy="3873206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F1D476E2-FE43-4626-A212-9D8BEB40903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557" y="2205352"/>
            <a:ext cx="1223628" cy="954015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7928102A-137D-4712-B407-2F54FC446F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64693" y="979622"/>
            <a:ext cx="1155821" cy="3873206"/>
          </a:xfrm>
          <a:prstGeom prst="rect">
            <a:avLst/>
          </a:prstGeom>
        </p:spPr>
      </p:pic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21BDD50-A752-4B83-89CF-73FB22B94BE5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5" name="Flussdiagramm: Daten 1">
              <a:extLst>
                <a:ext uri="{FF2B5EF4-FFF2-40B4-BE49-F238E27FC236}">
                  <a16:creationId xmlns:a16="http://schemas.microsoft.com/office/drawing/2014/main" id="{C92E849F-EEA5-44E6-9ECC-066B73211092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C9BCFE8E-6899-4B18-9D8F-94DBA687EDCC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480DAB05-3308-4AEE-A122-B1DBF5D458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BFC2F7-322F-4F45-B147-A8444B1C952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BAEB0C5-B7DD-4206-B781-436ED2C252B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446C61-CDE8-463C-8F37-7D6ADBD74E3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B4A402-4427-490B-B529-6D8676AA604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0264260"/>
      </p:ext>
    </p:extLst>
  </p:cSld>
  <p:clrMapOvr>
    <a:masterClrMapping/>
  </p:clrMapOvr>
  <p:transition spd="slow" advClick="0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_Botschaft W_2_Text mit Untertitel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163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ECAC137D-DFD2-4D70-96F8-850B5E6C1F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A1817DD9-EB3A-49E2-AAF7-1C68146C6C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" y="985032"/>
            <a:ext cx="882072" cy="3872308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32EC598A-63EC-4490-81E4-E5F2E313662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7060" y="987242"/>
            <a:ext cx="1566127" cy="3873206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9D1A13B3-01D4-4FBF-8D98-13B76A2DE7E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19" y="2465177"/>
            <a:ext cx="666509" cy="519651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5F480EA-E036-4C03-ABD4-1086F000ED9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69093" y="987242"/>
            <a:ext cx="1155821" cy="3873206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4DA098A0-8FA2-4B6D-BAE3-37F12C130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20675"/>
            <a:ext cx="8240970" cy="612286"/>
          </a:xfrm>
          <a:noFill/>
        </p:spPr>
        <p:txBody>
          <a:bodyPr vert="horz"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43076CE-85F6-4ABF-8D62-89645606C12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19325" y="1488564"/>
            <a:ext cx="3240000" cy="33687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de-DE" sz="1600" smtClean="0">
                <a:solidFill>
                  <a:schemeClr val="tx1"/>
                </a:solidFill>
                <a:latin typeface="+mn-lt"/>
              </a:defRPr>
            </a:lvl1pPr>
            <a:lvl2pPr>
              <a:defRPr lang="de-DE" sz="1600" smtClean="0">
                <a:solidFill>
                  <a:schemeClr val="tx1"/>
                </a:solidFill>
                <a:latin typeface="+mn-lt"/>
              </a:defRPr>
            </a:lvl2pPr>
            <a:lvl3pPr>
              <a:defRPr lang="de-DE" sz="1600" smtClean="0">
                <a:solidFill>
                  <a:schemeClr val="tx1"/>
                </a:solidFill>
                <a:latin typeface="+mn-lt"/>
              </a:defRPr>
            </a:lvl3pPr>
            <a:lvl4pPr>
              <a:defRPr lang="de-DE" sz="1400" smtClean="0">
                <a:solidFill>
                  <a:schemeClr val="tx1"/>
                </a:solidFill>
                <a:latin typeface="+mn-lt"/>
              </a:defRPr>
            </a:lvl4pPr>
            <a:lvl5pPr>
              <a:defRPr lang="de-DE" sz="1200">
                <a:solidFill>
                  <a:schemeClr val="tx1"/>
                </a:solidFill>
                <a:latin typeface="Source Sans Pro" panose="020B0503030403020204" pitchFamily="34" charset="0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30DE1D36-844D-44FE-A8A5-684A48E42F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sp>
        <p:nvSpPr>
          <p:cNvPr id="25" name="Inhaltsplatzhalter 6">
            <a:extLst>
              <a:ext uri="{FF2B5EF4-FFF2-40B4-BE49-F238E27FC236}">
                <a16:creationId xmlns:a16="http://schemas.microsoft.com/office/drawing/2014/main" id="{7D031689-FDBF-465C-A204-08187064E4F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4914" y="1491672"/>
            <a:ext cx="3002146" cy="33687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de-DE" sz="1600" smtClean="0">
                <a:solidFill>
                  <a:schemeClr val="tx1"/>
                </a:solidFill>
                <a:latin typeface="+mn-lt"/>
              </a:defRPr>
            </a:lvl1pPr>
            <a:lvl2pPr>
              <a:defRPr lang="de-DE" sz="1600" smtClean="0">
                <a:solidFill>
                  <a:schemeClr val="tx1"/>
                </a:solidFill>
                <a:latin typeface="+mn-lt"/>
              </a:defRPr>
            </a:lvl2pPr>
            <a:lvl3pPr>
              <a:defRPr lang="de-DE" sz="1600" smtClean="0">
                <a:solidFill>
                  <a:schemeClr val="tx1"/>
                </a:solidFill>
                <a:latin typeface="+mn-lt"/>
              </a:defRPr>
            </a:lvl3pPr>
            <a:lvl4pPr>
              <a:defRPr lang="de-DE" sz="1400" smtClean="0">
                <a:solidFill>
                  <a:schemeClr val="tx1"/>
                </a:solidFill>
                <a:latin typeface="+mn-lt"/>
              </a:defRPr>
            </a:lvl4pPr>
            <a:lvl5pPr>
              <a:defRPr lang="de-DE" sz="1200">
                <a:solidFill>
                  <a:schemeClr val="tx1"/>
                </a:solidFill>
                <a:latin typeface="Source Sans Pro" panose="020B0503030403020204" pitchFamily="34" charset="0"/>
              </a:defRPr>
            </a:lvl5pPr>
          </a:lstStyle>
          <a:p>
            <a:pPr lvl="0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buFont typeface="Arial" panose="020B0604020202020204" pitchFamily="34" charset="0"/>
            </a:pPr>
            <a:r>
              <a:rPr lang="en-US"/>
              <a:t>Fifth level</a:t>
            </a:r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85F03515-9FF8-4717-8099-811BC4AF7B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9325" y="1059657"/>
            <a:ext cx="3240000" cy="38700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B9BA949-B08C-4F03-9481-C6FB380160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84914" y="1059657"/>
            <a:ext cx="3002146" cy="38700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C2B7747-45DC-40EC-9D64-870F64F7FE56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0" name="Flussdiagramm: Daten 1">
              <a:extLst>
                <a:ext uri="{FF2B5EF4-FFF2-40B4-BE49-F238E27FC236}">
                  <a16:creationId xmlns:a16="http://schemas.microsoft.com/office/drawing/2014/main" id="{B61C18E5-1EF1-4418-83D4-459B476AF762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01CD819A-DE8B-4000-9C3A-3FF5284747D0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EDFE979-CDB7-4C05-A27B-FAAAC26B64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3EAD2CDB-16BE-4BFF-8C8D-F3F15A9960B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6EB48CE3-4BB2-43E9-9543-B127A3CC8F5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" y="985032"/>
            <a:ext cx="882072" cy="3872308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4DDA0A6F-733F-4997-B586-7E50286C44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7060" y="987242"/>
            <a:ext cx="1566127" cy="3873206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174DC16A-0A60-4F58-B70E-C600491933C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19" y="2465177"/>
            <a:ext cx="666509" cy="519651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5E41A350-B8FC-4BB4-A4B8-AEEC9DBF244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69093" y="987242"/>
            <a:ext cx="1155821" cy="3873206"/>
          </a:xfrm>
          <a:prstGeom prst="rect">
            <a:avLst/>
          </a:prstGeom>
        </p:spPr>
      </p:pic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FCC5432E-B4D5-44D1-A283-3E31CB182542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9" name="Flussdiagramm: Daten 1">
              <a:extLst>
                <a:ext uri="{FF2B5EF4-FFF2-40B4-BE49-F238E27FC236}">
                  <a16:creationId xmlns:a16="http://schemas.microsoft.com/office/drawing/2014/main" id="{E8A129AE-4C82-48C7-86C1-D7E8E1C9FC3D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459E8656-89E6-48C9-AC50-620EFF26838C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ED503D70-567A-428A-9B09-069E2B9472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B50FB2-3FB1-4F36-B83E-249EAB7AB94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A37DC57-95DA-43E0-BBA1-A01B1B356FB5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DE99BA-8342-4302-BF4D-EF0429DB1BC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6586B4-EC0B-4F02-8689-F50D65B5CA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3562305"/>
      </p:ext>
    </p:extLst>
  </p:cSld>
  <p:clrMapOvr>
    <a:masterClrMapping/>
  </p:clrMapOvr>
  <p:transition spd="slow" advClick="0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_Leistungspektr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BE66303F-92E6-4D5F-A020-790BB3F935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613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BE66303F-92E6-4D5F-A020-790BB3F93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AC5DF34-050B-487F-81F2-67606CB4F4A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8877" t="31872"/>
          <a:stretch/>
        </p:blipFill>
        <p:spPr>
          <a:xfrm rot="10800000" flipV="1">
            <a:off x="5622476" y="1350677"/>
            <a:ext cx="3521524" cy="350977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97548FA-9414-4234-83A1-CACD6B65437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20626" t="33532" r="-6539" b="1141"/>
          <a:stretch/>
        </p:blipFill>
        <p:spPr>
          <a:xfrm rot="10800000" flipV="1">
            <a:off x="5827603" y="1494980"/>
            <a:ext cx="3320169" cy="3365468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05C564E-5CF9-4265-BFCC-07173179131C}"/>
              </a:ext>
            </a:extLst>
          </p:cNvPr>
          <p:cNvGrpSpPr/>
          <p:nvPr/>
        </p:nvGrpSpPr>
        <p:grpSpPr>
          <a:xfrm>
            <a:off x="6189385" y="1063930"/>
            <a:ext cx="790690" cy="790690"/>
            <a:chOff x="6189385" y="1063930"/>
            <a:chExt cx="790690" cy="790690"/>
          </a:xfrm>
        </p:grpSpPr>
        <p:sp>
          <p:nvSpPr>
            <p:cNvPr id="9" name="Ellipse 64">
              <a:extLst>
                <a:ext uri="{FF2B5EF4-FFF2-40B4-BE49-F238E27FC236}">
                  <a16:creationId xmlns:a16="http://schemas.microsoft.com/office/drawing/2014/main" id="{7ADC7C96-2D29-48BF-BEA7-3CD1ECD057F2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6301230" y="1120395"/>
              <a:ext cx="564590" cy="56459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  <a:latin typeface="Source Sans Pro" panose="020B0503030403020204" pitchFamily="34" charset="0"/>
                <a:cs typeface="Times" panose="02020603050405020304" pitchFamily="18" charset="0"/>
              </a:endParaRPr>
            </a:p>
          </p:txBody>
        </p:sp>
        <p:sp>
          <p:nvSpPr>
            <p:cNvPr id="10" name="Bogen 9">
              <a:extLst>
                <a:ext uri="{FF2B5EF4-FFF2-40B4-BE49-F238E27FC236}">
                  <a16:creationId xmlns:a16="http://schemas.microsoft.com/office/drawing/2014/main" id="{D82DCD63-22BA-4682-88F0-2C9CE02FBF71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 flipV="1">
              <a:off x="6189385" y="1063930"/>
              <a:ext cx="790690" cy="790690"/>
            </a:xfrm>
            <a:prstGeom prst="arc">
              <a:avLst>
                <a:gd name="adj1" fmla="val 3446638"/>
                <a:gd name="adj2" fmla="val 7323691"/>
              </a:avLst>
            </a:prstGeom>
            <a:noFill/>
            <a:ln w="19050" cap="rnd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2232000" rtlCol="0" anchor="ctr" anchorCtr="0"/>
            <a:lstStyle/>
            <a:p>
              <a:pPr algn="ctr">
                <a:lnSpc>
                  <a:spcPct val="110000"/>
                </a:lnSpc>
              </a:pPr>
              <a:endParaRPr lang="de-DE" sz="2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5E6ADB72-E6A8-4DC6-98E7-D44F011F2A06}"/>
              </a:ext>
            </a:extLst>
          </p:cNvPr>
          <p:cNvSpPr txBox="1"/>
          <p:nvPr/>
        </p:nvSpPr>
        <p:spPr>
          <a:xfrm rot="-5400000">
            <a:off x="-642725" y="1845250"/>
            <a:ext cx="2168545" cy="338554"/>
          </a:xfrm>
          <a:prstGeom prst="rect">
            <a:avLst/>
          </a:prstGeom>
          <a:solidFill>
            <a:schemeClr val="tx2"/>
          </a:solidFill>
        </p:spPr>
        <p:txBody>
          <a:bodyPr wrap="square" lIns="46800" rIns="4680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  <a:latin typeface="Source Sans Pro Semibold" panose="020B0503030403020204" pitchFamily="34" charset="0"/>
              </a:rPr>
              <a:t>LEISTUNGSSPEKTRUM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2C99CE-82E9-4F21-A77A-050FE8349199}"/>
              </a:ext>
            </a:extLst>
          </p:cNvPr>
          <p:cNvSpPr/>
          <p:nvPr/>
        </p:nvSpPr>
        <p:spPr>
          <a:xfrm rot="16718168">
            <a:off x="5218175" y="2456484"/>
            <a:ext cx="1911101" cy="3489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b="1" dirty="0">
                <a:solidFill>
                  <a:schemeClr val="bg1"/>
                </a:solidFill>
                <a:latin typeface="Source Sans Pro Semibold" panose="020B0503030403020204" pitchFamily="34" charset="0"/>
              </a:rPr>
              <a:t>PROJEKTBEISPIE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02B1CFD5-8E3E-470C-A34C-5FAAE07130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710" y="900113"/>
            <a:ext cx="4953008" cy="38129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rgbClr val="009A32"/>
              </a:buClr>
              <a:buFontTx/>
              <a:buNone/>
              <a:defRPr lang="de-DE" sz="1100" b="1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</a:defRPr>
            </a:lvl1pPr>
            <a:lvl2pPr marL="171450" indent="-171450">
              <a:spcBef>
                <a:spcPts val="0"/>
              </a:spcBef>
              <a:spcAft>
                <a:spcPts val="600"/>
              </a:spcAft>
              <a:buClr>
                <a:srgbClr val="009932"/>
              </a:buClr>
              <a:buFont typeface="Arial" panose="020B0604020202020204" pitchFamily="34" charset="0"/>
              <a:buChar char="•"/>
              <a:defRPr sz="1100">
                <a:latin typeface="+mn-lt"/>
              </a:defRPr>
            </a:lvl2pPr>
            <a:lvl3pPr marL="270000" indent="-171450">
              <a:buFont typeface="Symbol" panose="05050102010706020507" pitchFamily="18" charset="2"/>
              <a:buChar char="-"/>
              <a:defRPr sz="1100">
                <a:latin typeface="+mn-lt"/>
              </a:defRPr>
            </a:lvl3pPr>
            <a:lvl4pPr>
              <a:defRPr sz="1000">
                <a:latin typeface="+mn-lt"/>
              </a:defRPr>
            </a:lvl4pPr>
            <a:lvl5pPr marL="538163" indent="-177800">
              <a:buFont typeface="Symbol" panose="05050102010706020507" pitchFamily="18" charset="2"/>
              <a:buChar char="-"/>
              <a:defRPr sz="9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E71FC0B-92E1-47DC-B068-DB87A04E0B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21588" y="1854620"/>
            <a:ext cx="2402234" cy="2993634"/>
          </a:xfrm>
          <a:prstGeom prst="rect">
            <a:avLst/>
          </a:prstGeom>
        </p:spPr>
        <p:txBody>
          <a:bodyPr lIns="0" tIns="0" rIns="0" bIns="0"/>
          <a:lstStyle>
            <a:lvl1pPr algn="l" defTabSz="685800" rtl="0" eaLnBrk="1" latinLnBrk="0" hangingPunct="1">
              <a:lnSpc>
                <a:spcPct val="90000"/>
              </a:lnSpc>
              <a:buClr>
                <a:srgbClr val="009A32"/>
              </a:buClr>
              <a:defRPr lang="de-DE" sz="1100" b="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</a:defRPr>
            </a:lvl1pPr>
            <a:lvl2pPr algn="l" defTabSz="685800" rtl="0" eaLnBrk="1" latinLnBrk="0" hangingPunct="1">
              <a:lnSpc>
                <a:spcPct val="90000"/>
              </a:lnSpc>
              <a:buFont typeface="Symbol" panose="05050102010706020507" pitchFamily="18" charset="2"/>
              <a:buChar char="-"/>
              <a:defRPr lang="de-DE" sz="11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</a:defRPr>
            </a:lvl2pPr>
            <a:lvl3pPr marL="270000" indent="-171450" algn="l" defTabSz="685800" rtl="0" eaLnBrk="1" latinLnBrk="0" hangingPunct="1">
              <a:lnSpc>
                <a:spcPct val="90000"/>
              </a:lnSpc>
              <a:defRPr lang="de-DE" sz="11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</a:defRPr>
            </a:lvl3pPr>
            <a:lvl4pPr marL="405000" indent="-171450" algn="l" defTabSz="685800" rtl="0" eaLnBrk="1" latinLnBrk="0" hangingPunct="1">
              <a:lnSpc>
                <a:spcPct val="90000"/>
              </a:lnSpc>
              <a:defRPr lang="de-DE" sz="10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</a:defRPr>
            </a:lvl4pPr>
            <a:lvl5pPr marL="538163" indent="-177800" algn="l" defTabSz="685800" rtl="0" eaLnBrk="1" latinLnBrk="0" hangingPunct="1">
              <a:lnSpc>
                <a:spcPct val="90000"/>
              </a:lnSpc>
              <a:defRPr lang="de-DE" sz="900" kern="1200" baseline="0" dirty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</a:defRPr>
            </a:lvl5pPr>
          </a:lstStyle>
          <a:p>
            <a:pPr marL="207900" lvl="0" indent="-1714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9932"/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DDAC5B4-F8A0-458C-B4CD-9A49741DF6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62804" y="1194104"/>
            <a:ext cx="441441" cy="418083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>
                <a:solidFill>
                  <a:srgbClr val="FFFEFF"/>
                </a:solidFill>
                <a:latin typeface="+mn-lt"/>
              </a:defRPr>
            </a:lvl1pPr>
            <a:lvl2pPr marL="0" indent="0">
              <a:buNone/>
              <a:defRPr>
                <a:solidFill>
                  <a:srgbClr val="FFFEFF"/>
                </a:solidFill>
              </a:defRPr>
            </a:lvl2pPr>
            <a:lvl3pPr marL="98550" indent="0">
              <a:buNone/>
              <a:defRPr>
                <a:solidFill>
                  <a:srgbClr val="FFFEFF"/>
                </a:solidFill>
              </a:defRPr>
            </a:lvl3pPr>
            <a:lvl4pPr marL="233550" indent="0">
              <a:buNone/>
              <a:defRPr>
                <a:solidFill>
                  <a:srgbClr val="FFFEFF"/>
                </a:solidFill>
              </a:defRPr>
            </a:lvl4pPr>
            <a:lvl5pPr marL="638550" indent="0">
              <a:buNone/>
              <a:defRPr>
                <a:solidFill>
                  <a:srgbClr val="FFFE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5AF08D75-1B2A-4945-80FA-BB1B606FC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24000"/>
            <a:ext cx="6408588" cy="303171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CEFE184F-5DBF-4720-AD4C-789207C29F8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3AD9452D-BE9D-46A9-A753-7CE3BAB8803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010713" y="72000"/>
            <a:ext cx="504000" cy="50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/>
            </a:lvl1pPr>
          </a:lstStyle>
          <a:p>
            <a:r>
              <a:rPr lang="de-DE" dirty="0"/>
              <a:t>Icon hinzufügen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D42F9068-B8D0-433B-903A-A64321BFC356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9" name="Flussdiagramm: Daten 1">
              <a:extLst>
                <a:ext uri="{FF2B5EF4-FFF2-40B4-BE49-F238E27FC236}">
                  <a16:creationId xmlns:a16="http://schemas.microsoft.com/office/drawing/2014/main" id="{796C4567-F5E3-4E9C-AB37-FB67762A8D26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9AC7648D-752E-4067-BC7F-4C617A3E84DD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EB3DBBD-3F5A-4BC9-BF7F-B310F462FB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graphicFrame>
        <p:nvGraphicFramePr>
          <p:cNvPr id="33" name="Objekt 32" hidden="1">
            <a:extLst>
              <a:ext uri="{FF2B5EF4-FFF2-40B4-BE49-F238E27FC236}">
                <a16:creationId xmlns:a16="http://schemas.microsoft.com/office/drawing/2014/main" id="{E86F1542-D083-4F2B-B353-5DDB811C02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7951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92" imgH="591" progId="TCLayout.ActiveDocument.1">
                  <p:embed/>
                </p:oleObj>
              </mc:Choice>
              <mc:Fallback>
                <p:oleObj name="think-cell Folie" r:id="rId15" imgW="592" imgH="591" progId="TCLayout.ActiveDocument.1">
                  <p:embed/>
                  <p:pic>
                    <p:nvPicPr>
                      <p:cNvPr id="33" name="Objekt 32" hidden="1">
                        <a:extLst>
                          <a:ext uri="{FF2B5EF4-FFF2-40B4-BE49-F238E27FC236}">
                            <a16:creationId xmlns:a16="http://schemas.microsoft.com/office/drawing/2014/main" id="{E86F1542-D083-4F2B-B353-5DDB811C02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Grafik 33">
            <a:extLst>
              <a:ext uri="{FF2B5EF4-FFF2-40B4-BE49-F238E27FC236}">
                <a16:creationId xmlns:a16="http://schemas.microsoft.com/office/drawing/2014/main" id="{493D22D2-CCBE-4290-BC28-BB74597009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8877" t="31872"/>
          <a:stretch/>
        </p:blipFill>
        <p:spPr>
          <a:xfrm rot="10800000" flipV="1">
            <a:off x="5622476" y="1350677"/>
            <a:ext cx="3521524" cy="3509771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F20785C0-5129-4662-A650-A09CFE8E4A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20626" t="33532" r="-6539" b="1141"/>
          <a:stretch/>
        </p:blipFill>
        <p:spPr>
          <a:xfrm rot="10800000" flipV="1">
            <a:off x="5827603" y="1494980"/>
            <a:ext cx="3320169" cy="3365468"/>
          </a:xfrm>
          <a:prstGeom prst="rect">
            <a:avLst/>
          </a:prstGeom>
        </p:spPr>
      </p:pic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2CDA365-E05F-403A-9B11-F9E32FD79AE8}"/>
              </a:ext>
            </a:extLst>
          </p:cNvPr>
          <p:cNvGrpSpPr/>
          <p:nvPr userDrawn="1"/>
        </p:nvGrpSpPr>
        <p:grpSpPr>
          <a:xfrm>
            <a:off x="6189385" y="1063930"/>
            <a:ext cx="790690" cy="790690"/>
            <a:chOff x="6189385" y="1063930"/>
            <a:chExt cx="790690" cy="790690"/>
          </a:xfrm>
        </p:grpSpPr>
        <p:sp>
          <p:nvSpPr>
            <p:cNvPr id="37" name="Ellipse 64">
              <a:extLst>
                <a:ext uri="{FF2B5EF4-FFF2-40B4-BE49-F238E27FC236}">
                  <a16:creationId xmlns:a16="http://schemas.microsoft.com/office/drawing/2014/main" id="{AD716E56-00B1-424E-80E0-93495F932947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6301230" y="1120395"/>
              <a:ext cx="564590" cy="56459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/>
            <a:p>
              <a:pPr algn="ctr"/>
              <a:endParaRPr lang="de-DE" sz="1400" dirty="0">
                <a:solidFill>
                  <a:schemeClr val="bg1"/>
                </a:solidFill>
                <a:latin typeface="Source Sans Pro" panose="020B0503030403020204" pitchFamily="34" charset="0"/>
                <a:cs typeface="Times" panose="02020603050405020304" pitchFamily="18" charset="0"/>
              </a:endParaRPr>
            </a:p>
          </p:txBody>
        </p:sp>
        <p:sp>
          <p:nvSpPr>
            <p:cNvPr id="38" name="Bogen 37">
              <a:extLst>
                <a:ext uri="{FF2B5EF4-FFF2-40B4-BE49-F238E27FC236}">
                  <a16:creationId xmlns:a16="http://schemas.microsoft.com/office/drawing/2014/main" id="{4ABFCFB9-7B93-49C9-970C-2E85A558C11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 flipV="1">
              <a:off x="6189385" y="1063930"/>
              <a:ext cx="790690" cy="790690"/>
            </a:xfrm>
            <a:prstGeom prst="arc">
              <a:avLst>
                <a:gd name="adj1" fmla="val 3446638"/>
                <a:gd name="adj2" fmla="val 7323691"/>
              </a:avLst>
            </a:prstGeom>
            <a:noFill/>
            <a:ln w="19050" cap="rnd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2232000" rtlCol="0" anchor="ctr" anchorCtr="0"/>
            <a:lstStyle/>
            <a:p>
              <a:pPr algn="ctr">
                <a:lnSpc>
                  <a:spcPct val="110000"/>
                </a:lnSpc>
              </a:pPr>
              <a:endParaRPr lang="de-DE" sz="2200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feld 38">
            <a:extLst>
              <a:ext uri="{FF2B5EF4-FFF2-40B4-BE49-F238E27FC236}">
                <a16:creationId xmlns:a16="http://schemas.microsoft.com/office/drawing/2014/main" id="{6E248D8E-0256-46A6-8330-64F0518C144E}"/>
              </a:ext>
            </a:extLst>
          </p:cNvPr>
          <p:cNvSpPr txBox="1"/>
          <p:nvPr userDrawn="1"/>
        </p:nvSpPr>
        <p:spPr>
          <a:xfrm rot="-5400000">
            <a:off x="-642725" y="1845250"/>
            <a:ext cx="2168545" cy="338554"/>
          </a:xfrm>
          <a:prstGeom prst="rect">
            <a:avLst/>
          </a:prstGeom>
          <a:solidFill>
            <a:schemeClr val="tx2"/>
          </a:solidFill>
        </p:spPr>
        <p:txBody>
          <a:bodyPr wrap="square" lIns="46800" rIns="4680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  <a:latin typeface="Source Sans Pro Semibold" panose="020B0503030403020204" pitchFamily="34" charset="0"/>
              </a:rPr>
              <a:t>LEISTUNGSSPEKTRUM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A7CB13CE-5B50-4182-B7E5-4EAD77DBD2EE}"/>
              </a:ext>
            </a:extLst>
          </p:cNvPr>
          <p:cNvSpPr/>
          <p:nvPr userDrawn="1"/>
        </p:nvSpPr>
        <p:spPr>
          <a:xfrm rot="16718168">
            <a:off x="5218175" y="2456484"/>
            <a:ext cx="1911101" cy="3489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1600" b="1" dirty="0">
                <a:solidFill>
                  <a:schemeClr val="bg1"/>
                </a:solidFill>
                <a:latin typeface="Source Sans Pro Semibold" panose="020B0503030403020204" pitchFamily="34" charset="0"/>
              </a:rPr>
              <a:t>PROJEKTBEISPIELE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AC665C50-94FC-470F-8413-78B153CAF757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42" name="Flussdiagramm: Daten 1">
              <a:extLst>
                <a:ext uri="{FF2B5EF4-FFF2-40B4-BE49-F238E27FC236}">
                  <a16:creationId xmlns:a16="http://schemas.microsoft.com/office/drawing/2014/main" id="{CDE4AF2F-A452-4DBD-A68B-6BB8C1752ED5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3B4444B8-B2F6-4618-A8C0-5AB383D063CD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AD2667CA-792E-4BB2-BB01-0D644C9395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D1BB95-0162-4BAB-8555-A8DA84CC54FA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46C20D05-755E-40E8-B163-34670027139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5226DDE-A228-4B87-A79B-A93B2D840C5A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B0530F1-F34D-40DD-8FD5-608C1EFEB710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8673369"/>
      </p:ext>
    </p:extLst>
  </p:cSld>
  <p:clrMapOvr>
    <a:masterClrMapping/>
  </p:clrMapOvr>
  <p:transition spd="slow" advClick="0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_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9893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hteck 40"/>
          <p:cNvSpPr/>
          <p:nvPr/>
        </p:nvSpPr>
        <p:spPr>
          <a:xfrm>
            <a:off x="-794" y="0"/>
            <a:ext cx="2087563" cy="4860448"/>
          </a:xfrm>
          <a:prstGeom prst="rect">
            <a:avLst/>
          </a:prstGeom>
          <a:solidFill>
            <a:srgbClr val="009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rgbClr val="FFFEFF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84438" y="324000"/>
            <a:ext cx="6083863" cy="447550"/>
          </a:xfrm>
          <a:noFill/>
        </p:spPr>
        <p:txBody>
          <a:bodyPr vert="horz" anchor="t">
            <a:normAutofit/>
          </a:bodyPr>
          <a:lstStyle>
            <a:lvl1pPr>
              <a:defRPr sz="2000"/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2504083" y="1326286"/>
            <a:ext cx="2073894" cy="1698592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423835" y="87978"/>
            <a:ext cx="1260000" cy="126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8"/>
          </p:nvPr>
        </p:nvSpPr>
        <p:spPr>
          <a:xfrm>
            <a:off x="103382" y="1715490"/>
            <a:ext cx="1851884" cy="2079053"/>
          </a:xfrm>
          <a:prstGeom prst="rect">
            <a:avLst/>
          </a:prstGeom>
        </p:spPr>
        <p:txBody>
          <a:bodyPr/>
          <a:lstStyle>
            <a:lvl1pPr>
              <a:defRPr sz="1100" baseline="0">
                <a:solidFill>
                  <a:srgbClr val="FFFEFF"/>
                </a:solidFill>
                <a:latin typeface="+mn-lt"/>
              </a:defRPr>
            </a:lvl1pPr>
            <a:lvl2pPr>
              <a:defRPr sz="1000">
                <a:solidFill>
                  <a:srgbClr val="FFFEFF"/>
                </a:solidFill>
                <a:latin typeface="+mn-lt"/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Inhaltsplatzhalter 2"/>
          <p:cNvSpPr>
            <a:spLocks noGrp="1"/>
          </p:cNvSpPr>
          <p:nvPr>
            <p:ph idx="23" hasCustomPrompt="1"/>
          </p:nvPr>
        </p:nvSpPr>
        <p:spPr>
          <a:xfrm>
            <a:off x="4663951" y="1326287"/>
            <a:ext cx="2068576" cy="346002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5" name="Inhaltsplatzhalter 2"/>
          <p:cNvSpPr>
            <a:spLocks noGrp="1"/>
          </p:cNvSpPr>
          <p:nvPr>
            <p:ph idx="25" hasCustomPrompt="1"/>
          </p:nvPr>
        </p:nvSpPr>
        <p:spPr>
          <a:xfrm>
            <a:off x="2503363" y="3400109"/>
            <a:ext cx="2068576" cy="1386204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490414" y="1062241"/>
            <a:ext cx="2079207" cy="259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300" dirty="0">
                <a:solidFill>
                  <a:srgbClr val="009A32"/>
                </a:solidFill>
                <a:latin typeface="+mj-lt"/>
              </a:rPr>
              <a:t>Unsere Lösung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4649984" y="1066231"/>
            <a:ext cx="2287128" cy="259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300" dirty="0">
                <a:solidFill>
                  <a:srgbClr val="009A32"/>
                </a:solidFill>
                <a:latin typeface="+mj-lt"/>
              </a:rPr>
              <a:t>Unsere Vorgehensweise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6807269" y="1066426"/>
            <a:ext cx="2079207" cy="259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300" dirty="0">
                <a:solidFill>
                  <a:srgbClr val="009A32"/>
                </a:solidFill>
                <a:latin typeface="+mj-lt"/>
              </a:rPr>
              <a:t>Ihr Nutzen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82969" y="1465778"/>
            <a:ext cx="2079207" cy="259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300" dirty="0">
                <a:solidFill>
                  <a:srgbClr val="FFFEFF"/>
                </a:solidFill>
                <a:latin typeface="+mj-lt"/>
              </a:rPr>
              <a:t>Ihre Herausforderungen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2492732" y="3127891"/>
            <a:ext cx="2079207" cy="259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300" dirty="0">
                <a:solidFill>
                  <a:schemeClr val="bg2"/>
                </a:solidFill>
                <a:latin typeface="+mj-lt"/>
              </a:rPr>
              <a:t>Eingesetzte Technologie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26" hasCustomPrompt="1"/>
          </p:nvPr>
        </p:nvSpPr>
        <p:spPr>
          <a:xfrm>
            <a:off x="6825135" y="1326287"/>
            <a:ext cx="2068576" cy="346002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22" name="Rechteck 21" hidden="1">
            <a:extLst>
              <a:ext uri="{FF2B5EF4-FFF2-40B4-BE49-F238E27FC236}">
                <a16:creationId xmlns:a16="http://schemas.microsoft.com/office/drawing/2014/main" id="{8A67A032-7FE1-4A7E-9672-C09B5E58F5F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B44DEE11-3C9E-4E3B-9088-CE182075796D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0" name="Flussdiagramm: Daten 1">
              <a:extLst>
                <a:ext uri="{FF2B5EF4-FFF2-40B4-BE49-F238E27FC236}">
                  <a16:creationId xmlns:a16="http://schemas.microsoft.com/office/drawing/2014/main" id="{674CE27B-6BB0-43E8-8B79-15CE9EFFE3D6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482FA140-5E62-4B93-9F73-5E1BFE9FB55D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7D0D572-B61F-41D5-B894-3BE22666C89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A6703071-EB19-4279-8C3A-21172EA82D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80785843-7AA6-404B-98FE-499C44BAFE66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7" name="Flussdiagramm: Daten 1">
              <a:extLst>
                <a:ext uri="{FF2B5EF4-FFF2-40B4-BE49-F238E27FC236}">
                  <a16:creationId xmlns:a16="http://schemas.microsoft.com/office/drawing/2014/main" id="{B12C53B9-81B9-42FB-A926-13C635B576BF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10FBC026-3860-45F1-84EB-06360908A9C2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43BE8EC4-F1C5-4375-8E88-766010ED5A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788FF93-5873-4A4F-A115-B55069C37DB6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BA73731C-C139-4D3D-839F-1C46B9795D7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43A52B-738A-414E-9575-8F4E9AB1D16D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852549-35D7-413B-877D-18D177560D7A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8179723"/>
      </p:ext>
    </p:extLst>
  </p:cSld>
  <p:clrMapOvr>
    <a:masterClrMapping/>
  </p:clrMapOvr>
  <p:transition spd="slow" advClick="0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_Berater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822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/>
        </p:nvSpPr>
        <p:spPr>
          <a:xfrm>
            <a:off x="-794" y="3176"/>
            <a:ext cx="2087563" cy="4857272"/>
          </a:xfrm>
          <a:prstGeom prst="rect">
            <a:avLst/>
          </a:prstGeom>
          <a:solidFill>
            <a:srgbClr val="009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92132" y="324000"/>
            <a:ext cx="6076170" cy="447550"/>
          </a:xfrm>
        </p:spPr>
        <p:txBody>
          <a:bodyPr vert="horz" anchor="t">
            <a:normAutofit/>
          </a:bodyPr>
          <a:lstStyle>
            <a:lvl1pPr>
              <a:defRPr sz="2000"/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800573" y="1326733"/>
            <a:ext cx="2092601" cy="3446234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400"/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>
              <a:lnSpc>
                <a:spcPct val="100000"/>
              </a:lnSpc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2492131" y="1326285"/>
            <a:ext cx="2073894" cy="3460027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-4390" y="0"/>
            <a:ext cx="2080592" cy="2080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4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idx="23" hasCustomPrompt="1"/>
          </p:nvPr>
        </p:nvSpPr>
        <p:spPr>
          <a:xfrm>
            <a:off x="4651999" y="1326287"/>
            <a:ext cx="2068576" cy="346002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490414" y="1062241"/>
            <a:ext cx="2079207" cy="259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300" dirty="0">
                <a:solidFill>
                  <a:srgbClr val="009A32"/>
                </a:solidFill>
                <a:latin typeface="+mj-lt"/>
              </a:rPr>
              <a:t>Kompetenzen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4649984" y="1066231"/>
            <a:ext cx="4242016" cy="259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300" dirty="0">
                <a:solidFill>
                  <a:srgbClr val="009A32"/>
                </a:solidFill>
                <a:latin typeface="+mj-lt"/>
              </a:rPr>
              <a:t>Relevante Projekte (Auszug)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50825" y="2136796"/>
            <a:ext cx="1800000" cy="144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100" b="0" dirty="0">
                <a:solidFill>
                  <a:srgbClr val="FFFEFF"/>
                </a:solidFill>
                <a:latin typeface="+mj-lt"/>
              </a:rPr>
              <a:t>Position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250825" y="2667614"/>
            <a:ext cx="1800000" cy="144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100" b="0" dirty="0">
                <a:solidFill>
                  <a:srgbClr val="FFFEFF"/>
                </a:solidFill>
                <a:latin typeface="+mj-lt"/>
              </a:rPr>
              <a:t>Nationalität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250825" y="3198432"/>
            <a:ext cx="1800000" cy="144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100" b="0" dirty="0">
                <a:solidFill>
                  <a:srgbClr val="FFFEFF"/>
                </a:solidFill>
                <a:latin typeface="+mj-lt"/>
              </a:rPr>
              <a:t>Ausbildung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250825" y="3729250"/>
            <a:ext cx="1800000" cy="144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100" b="0" dirty="0">
                <a:solidFill>
                  <a:srgbClr val="FFFEFF"/>
                </a:solidFill>
                <a:latin typeface="+mj-lt"/>
              </a:rPr>
              <a:t>Berufserfahrung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250825" y="4260068"/>
            <a:ext cx="1800000" cy="144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100" b="0" dirty="0">
                <a:solidFill>
                  <a:srgbClr val="FFFEFF"/>
                </a:solidFill>
                <a:latin typeface="+mj-lt"/>
              </a:rPr>
              <a:t>Sprach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250825" y="2308605"/>
            <a:ext cx="1800000" cy="331200"/>
          </a:xfrm>
          <a:prstGeom prst="rect">
            <a:avLst/>
          </a:prstGeom>
        </p:spPr>
        <p:txBody>
          <a:bodyPr wrap="none" lIns="0" tIns="0" rIns="0" bIns="0">
            <a:normAutofit/>
          </a:bodyPr>
          <a:lstStyle>
            <a:lvl1pPr marL="0" indent="0">
              <a:buFontTx/>
              <a:buNone/>
              <a:defRPr sz="1200">
                <a:solidFill>
                  <a:srgbClr val="FFFEFF"/>
                </a:solidFill>
                <a:latin typeface="Source Sans Pro" panose="020B0503030403020204" pitchFamily="34" charset="0"/>
              </a:defRPr>
            </a:lvl1pPr>
          </a:lstStyle>
          <a:p>
            <a:pPr lvl="0"/>
            <a:r>
              <a:rPr lang="de-DE" dirty="0"/>
              <a:t>Hier hinzufügen</a:t>
            </a:r>
          </a:p>
        </p:txBody>
      </p:sp>
      <p:sp>
        <p:nvSpPr>
          <p:cNvPr id="32" name="Textplatzhalt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250825" y="2839423"/>
            <a:ext cx="1800000" cy="331200"/>
          </a:xfrm>
          <a:prstGeom prst="rect">
            <a:avLst/>
          </a:prstGeom>
        </p:spPr>
        <p:txBody>
          <a:bodyPr wrap="none" lIns="0" tIns="0" rIns="0" bIns="0">
            <a:normAutofit/>
          </a:bodyPr>
          <a:lstStyle>
            <a:lvl1pPr marL="0" indent="0">
              <a:buFontTx/>
              <a:buNone/>
              <a:defRPr sz="1200">
                <a:solidFill>
                  <a:srgbClr val="FFFEFF"/>
                </a:solidFill>
                <a:latin typeface="Source Sans Pro" panose="020B0503030403020204" pitchFamily="34" charset="0"/>
              </a:defRPr>
            </a:lvl1pPr>
          </a:lstStyle>
          <a:p>
            <a:pPr lvl="0"/>
            <a:r>
              <a:rPr lang="de-DE" dirty="0"/>
              <a:t>Hier hinzufügen</a:t>
            </a:r>
          </a:p>
        </p:txBody>
      </p:sp>
      <p:sp>
        <p:nvSpPr>
          <p:cNvPr id="34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250825" y="3370241"/>
            <a:ext cx="1800000" cy="331200"/>
          </a:xfrm>
          <a:prstGeom prst="rect">
            <a:avLst/>
          </a:prstGeom>
        </p:spPr>
        <p:txBody>
          <a:bodyPr wrap="none" lIns="0" tIns="0" rIns="0" bIns="0">
            <a:normAutofit/>
          </a:bodyPr>
          <a:lstStyle>
            <a:lvl1pPr marL="0" indent="0">
              <a:buFontTx/>
              <a:buNone/>
              <a:defRPr sz="1200">
                <a:solidFill>
                  <a:srgbClr val="FFFEFF"/>
                </a:solidFill>
                <a:latin typeface="Source Sans Pro" panose="020B0503030403020204" pitchFamily="34" charset="0"/>
              </a:defRPr>
            </a:lvl1pPr>
          </a:lstStyle>
          <a:p>
            <a:pPr lvl="0"/>
            <a:r>
              <a:rPr lang="de-DE" dirty="0"/>
              <a:t>Hier hinzufügen</a:t>
            </a:r>
          </a:p>
        </p:txBody>
      </p:sp>
      <p:sp>
        <p:nvSpPr>
          <p:cNvPr id="36" name="Textplatzhalt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250825" y="3901059"/>
            <a:ext cx="1800000" cy="331200"/>
          </a:xfrm>
          <a:prstGeom prst="rect">
            <a:avLst/>
          </a:prstGeom>
        </p:spPr>
        <p:txBody>
          <a:bodyPr wrap="none" lIns="0" tIns="0" rIns="0" bIns="0">
            <a:normAutofit/>
          </a:bodyPr>
          <a:lstStyle>
            <a:lvl1pPr marL="0" indent="0">
              <a:buFontTx/>
              <a:buNone/>
              <a:defRPr sz="1200">
                <a:solidFill>
                  <a:srgbClr val="FFFEFF"/>
                </a:solidFill>
                <a:latin typeface="Source Sans Pro" panose="020B0503030403020204" pitchFamily="34" charset="0"/>
              </a:defRPr>
            </a:lvl1pPr>
          </a:lstStyle>
          <a:p>
            <a:pPr lvl="0"/>
            <a:r>
              <a:rPr lang="de-DE" dirty="0"/>
              <a:t>Hier hinzufügen</a:t>
            </a:r>
          </a:p>
        </p:txBody>
      </p:sp>
      <p:sp>
        <p:nvSpPr>
          <p:cNvPr id="41" name="Textplatzhalt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250825" y="4431880"/>
            <a:ext cx="1800000" cy="331200"/>
          </a:xfrm>
          <a:prstGeom prst="rect">
            <a:avLst/>
          </a:prstGeom>
        </p:spPr>
        <p:txBody>
          <a:bodyPr wrap="none" lIns="0" tIns="0" rIns="0" bIns="0">
            <a:normAutofit/>
          </a:bodyPr>
          <a:lstStyle>
            <a:lvl1pPr marL="0" indent="0">
              <a:buFontTx/>
              <a:buNone/>
              <a:defRPr sz="1200">
                <a:solidFill>
                  <a:srgbClr val="FFFEFF"/>
                </a:solidFill>
                <a:latin typeface="Source Sans Pro" panose="020B0503030403020204" pitchFamily="34" charset="0"/>
              </a:defRPr>
            </a:lvl1pPr>
          </a:lstStyle>
          <a:p>
            <a:pPr lvl="0"/>
            <a:r>
              <a:rPr lang="de-DE" dirty="0"/>
              <a:t>Hier hinzufügen</a:t>
            </a:r>
          </a:p>
        </p:txBody>
      </p:sp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5455C46A-52D2-4A01-8861-CFB67D0BFB2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47C854B-0989-4FDD-A4DC-B3C25B2BC677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1" name="Flussdiagramm: Daten 1">
              <a:extLst>
                <a:ext uri="{FF2B5EF4-FFF2-40B4-BE49-F238E27FC236}">
                  <a16:creationId xmlns:a16="http://schemas.microsoft.com/office/drawing/2014/main" id="{30D45AA0-038E-4EC2-996D-7504D62938A5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BCC62D93-50B6-4066-9DE1-A703EA59F6D2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BE7D09D-A7E5-4B72-9DC1-787A06D1A1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9" name="Rechteck 38" hidden="1">
            <a:extLst>
              <a:ext uri="{FF2B5EF4-FFF2-40B4-BE49-F238E27FC236}">
                <a16:creationId xmlns:a16="http://schemas.microsoft.com/office/drawing/2014/main" id="{DD536710-AD42-49D1-9DC2-9AE2CD5E64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BE246057-97E3-44E9-B95D-C06D125692BA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43" name="Flussdiagramm: Daten 1">
              <a:extLst>
                <a:ext uri="{FF2B5EF4-FFF2-40B4-BE49-F238E27FC236}">
                  <a16:creationId xmlns:a16="http://schemas.microsoft.com/office/drawing/2014/main" id="{C6E8071E-BF8D-422F-99F8-B928D226FBF7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A5F8801-37E5-4E2E-862F-5C64F37DA5F6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F2AF4B42-222D-4DF1-8344-92C13AE0E0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B9A24D3-2F7A-4D87-88ED-E4E39EDD6E4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D4B3F0FD-24FC-41A6-94F1-F2D7E038B364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0E984B3-DF54-463C-9515-EF6A16CE099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0CEA83B-AFE5-48BE-8908-1D148D5DB07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43146"/>
      </p:ext>
    </p:extLst>
  </p:cSld>
  <p:clrMapOvr>
    <a:masterClrMapping/>
  </p:clrMapOvr>
  <p:transition spd="slow" advClick="0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_Success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8421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/>
        </p:nvSpPr>
        <p:spPr>
          <a:xfrm>
            <a:off x="6816534" y="3176"/>
            <a:ext cx="2326031" cy="4857272"/>
          </a:xfrm>
          <a:prstGeom prst="rect">
            <a:avLst/>
          </a:prstGeom>
          <a:solidFill>
            <a:srgbClr val="009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rgbClr val="FFFEFF"/>
              </a:solidFill>
              <a:latin typeface="+mn-lt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0" y="4858684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2492131" y="1357533"/>
            <a:ext cx="2000579" cy="3242704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6821711" y="0"/>
            <a:ext cx="2310287" cy="9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idx="23" hasCustomPrompt="1"/>
          </p:nvPr>
        </p:nvSpPr>
        <p:spPr>
          <a:xfrm>
            <a:off x="4651998" y="1357534"/>
            <a:ext cx="2007261" cy="3242703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490414" y="1072282"/>
            <a:ext cx="2079207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rgbClr val="009A32"/>
                </a:solidFill>
                <a:latin typeface="+mj-lt"/>
              </a:rPr>
              <a:t>Projektergebnis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4649984" y="1076272"/>
            <a:ext cx="2082604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rgbClr val="009A32"/>
                </a:solidFill>
                <a:latin typeface="+mj-lt"/>
              </a:rPr>
              <a:t>Rolle im</a:t>
            </a:r>
            <a:r>
              <a:rPr lang="de-DE" sz="1200" baseline="0" dirty="0">
                <a:solidFill>
                  <a:srgbClr val="009A32"/>
                </a:solidFill>
                <a:latin typeface="+mj-lt"/>
              </a:rPr>
              <a:t> </a:t>
            </a:r>
            <a:r>
              <a:rPr lang="de-DE" sz="1200" dirty="0">
                <a:solidFill>
                  <a:srgbClr val="009A32"/>
                </a:solidFill>
                <a:latin typeface="+mj-lt"/>
              </a:rPr>
              <a:t>Projekt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6408588" cy="303171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1" name="Inhaltsplatzhalter 2"/>
          <p:cNvSpPr>
            <a:spLocks noGrp="1"/>
          </p:cNvSpPr>
          <p:nvPr>
            <p:ph idx="29" hasCustomPrompt="1"/>
          </p:nvPr>
        </p:nvSpPr>
        <p:spPr>
          <a:xfrm>
            <a:off x="324000" y="1357533"/>
            <a:ext cx="2009140" cy="3242704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322283" y="1072282"/>
            <a:ext cx="2079207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rgbClr val="009A32"/>
                </a:solidFill>
                <a:latin typeface="+mj-lt"/>
              </a:rPr>
              <a:t>Ausgangsbasis</a:t>
            </a:r>
          </a:p>
        </p:txBody>
      </p:sp>
      <p:sp>
        <p:nvSpPr>
          <p:cNvPr id="38" name="Inhaltsplatzhalter 2"/>
          <p:cNvSpPr>
            <a:spLocks noGrp="1"/>
          </p:cNvSpPr>
          <p:nvPr>
            <p:ph idx="30" hasCustomPrompt="1"/>
          </p:nvPr>
        </p:nvSpPr>
        <p:spPr>
          <a:xfrm>
            <a:off x="6916715" y="1357534"/>
            <a:ext cx="2068576" cy="34287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rgbClr val="FFFEFF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rgbClr val="FFFEFF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rgbClr val="FFFEFF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6916715" y="1076272"/>
            <a:ext cx="1327693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rgbClr val="FFFEFF"/>
                </a:solidFill>
                <a:latin typeface="+mj-lt"/>
              </a:rPr>
              <a:t>Kundennutzen</a:t>
            </a:r>
          </a:p>
        </p:txBody>
      </p:sp>
      <p:sp>
        <p:nvSpPr>
          <p:cNvPr id="40" name="Textplatzhalter 2"/>
          <p:cNvSpPr>
            <a:spLocks noGrp="1"/>
          </p:cNvSpPr>
          <p:nvPr>
            <p:ph type="body" idx="10"/>
          </p:nvPr>
        </p:nvSpPr>
        <p:spPr>
          <a:xfrm>
            <a:off x="324000" y="634638"/>
            <a:ext cx="6408588" cy="2737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hteck 20" hidden="1">
            <a:extLst>
              <a:ext uri="{FF2B5EF4-FFF2-40B4-BE49-F238E27FC236}">
                <a16:creationId xmlns:a16="http://schemas.microsoft.com/office/drawing/2014/main" id="{BD482294-4DAE-4971-B016-365F5540B3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23CF2C68-B7EE-4533-B5A1-904C25BB0B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398E64B0-7F36-4599-9862-13AB7745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4600237"/>
            <a:ext cx="6335259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6" name="Rechteck 25" hidden="1">
            <a:extLst>
              <a:ext uri="{FF2B5EF4-FFF2-40B4-BE49-F238E27FC236}">
                <a16:creationId xmlns:a16="http://schemas.microsoft.com/office/drawing/2014/main" id="{8121031C-EA77-4EF8-A7AE-6634330548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1C8632-8ECE-45AF-94C6-D33FBFBF9663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6712C59-67DB-4C6F-836E-692D54ABC24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C30E43-9551-4574-A4E0-C2F3D8C38CF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EAA4F4-2286-47B5-948F-8D3F9115683D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5273652"/>
      </p:ext>
    </p:extLst>
  </p:cSld>
  <p:clrMapOvr>
    <a:masterClrMapping/>
  </p:clrMapOvr>
  <p:transition spd="slow" advClick="0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_Success Story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917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/>
        </p:nvSpPr>
        <p:spPr>
          <a:xfrm>
            <a:off x="6816534" y="3176"/>
            <a:ext cx="2326031" cy="4857272"/>
          </a:xfrm>
          <a:prstGeom prst="rect">
            <a:avLst/>
          </a:prstGeom>
          <a:solidFill>
            <a:srgbClr val="009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latin typeface="+mn-lt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2492131" y="1357533"/>
            <a:ext cx="2000579" cy="323775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6821711" y="0"/>
            <a:ext cx="2322289" cy="9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4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idx="23" hasCustomPrompt="1"/>
          </p:nvPr>
        </p:nvSpPr>
        <p:spPr>
          <a:xfrm>
            <a:off x="4651998" y="1357534"/>
            <a:ext cx="2007261" cy="3237755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490414" y="1072282"/>
            <a:ext cx="2079207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rgbClr val="009A32"/>
                </a:solidFill>
                <a:latin typeface="+mj-lt"/>
              </a:rPr>
              <a:t>Vorgehensweise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4649984" y="1076272"/>
            <a:ext cx="2082604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rgbClr val="009A32"/>
                </a:solidFill>
                <a:latin typeface="+mj-lt"/>
              </a:rPr>
              <a:t>Funktionen/Projektergebnis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6408588" cy="303171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1" name="Inhaltsplatzhalter 2"/>
          <p:cNvSpPr>
            <a:spLocks noGrp="1"/>
          </p:cNvSpPr>
          <p:nvPr>
            <p:ph idx="29" hasCustomPrompt="1"/>
          </p:nvPr>
        </p:nvSpPr>
        <p:spPr>
          <a:xfrm>
            <a:off x="324000" y="1357533"/>
            <a:ext cx="2009140" cy="323775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322283" y="1072282"/>
            <a:ext cx="2079207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rgbClr val="009A32"/>
                </a:solidFill>
                <a:latin typeface="+mj-lt"/>
              </a:rPr>
              <a:t>Ausgangsbasis</a:t>
            </a:r>
          </a:p>
        </p:txBody>
      </p:sp>
      <p:sp>
        <p:nvSpPr>
          <p:cNvPr id="38" name="Inhaltsplatzhalter 2"/>
          <p:cNvSpPr>
            <a:spLocks noGrp="1"/>
          </p:cNvSpPr>
          <p:nvPr>
            <p:ph idx="30" hasCustomPrompt="1"/>
          </p:nvPr>
        </p:nvSpPr>
        <p:spPr>
          <a:xfrm>
            <a:off x="6916715" y="1357534"/>
            <a:ext cx="2068576" cy="34287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6916715" y="1076272"/>
            <a:ext cx="1327693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latin typeface="+mj-lt"/>
              </a:rPr>
              <a:t>Kundennutzen</a:t>
            </a:r>
          </a:p>
        </p:txBody>
      </p:sp>
      <p:sp>
        <p:nvSpPr>
          <p:cNvPr id="40" name="Textplatzhalter 2"/>
          <p:cNvSpPr>
            <a:spLocks noGrp="1"/>
          </p:cNvSpPr>
          <p:nvPr>
            <p:ph type="body" idx="10"/>
          </p:nvPr>
        </p:nvSpPr>
        <p:spPr>
          <a:xfrm>
            <a:off x="324000" y="634638"/>
            <a:ext cx="6408588" cy="2737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4600237"/>
            <a:ext cx="6335259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75204B2-B981-49D7-8D65-E824C4A8F5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88A48D3-4CBF-470F-8542-6B9C1864E1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A472D97-6F87-482C-8481-801A6A5A4A7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6BD31DE-2A06-4859-B915-4B98289DE0D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EE71B51-17F3-4B41-9806-C72DE3165E30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8207138"/>
      </p:ext>
    </p:extLst>
  </p:cSld>
  <p:clrMapOvr>
    <a:masterClrMapping/>
  </p:clrMapOvr>
  <p:transition spd="slow" advClick="0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_Case_Flex_Bild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0392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D6727A-7416-4A12-B1F3-7ED3DDD119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-1" y="3824769"/>
            <a:ext cx="6815100" cy="10356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6816534" y="3176"/>
            <a:ext cx="2326031" cy="4857272"/>
          </a:xfrm>
          <a:prstGeom prst="rect">
            <a:avLst/>
          </a:prstGeom>
          <a:solidFill>
            <a:srgbClr val="009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6815100" y="0"/>
            <a:ext cx="2327466" cy="9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4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6408588" cy="303171"/>
          </a:xfrm>
          <a:noFill/>
        </p:spPr>
        <p:txBody>
          <a:bodyPr vert="horz">
            <a:normAutofit/>
          </a:bodyPr>
          <a:lstStyle>
            <a:lvl1pPr>
              <a:defRPr sz="20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8" name="Inhaltsplatzhalter 2"/>
          <p:cNvSpPr>
            <a:spLocks noGrp="1"/>
          </p:cNvSpPr>
          <p:nvPr>
            <p:ph idx="30" hasCustomPrompt="1"/>
          </p:nvPr>
        </p:nvSpPr>
        <p:spPr>
          <a:xfrm>
            <a:off x="6916715" y="1357535"/>
            <a:ext cx="2068576" cy="32601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rgbClr val="FFFEFF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rgbClr val="FFFEFF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rgbClr val="FFFEFF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40" name="Textplatzhalter 2"/>
          <p:cNvSpPr>
            <a:spLocks noGrp="1"/>
          </p:cNvSpPr>
          <p:nvPr>
            <p:ph type="body" idx="10"/>
          </p:nvPr>
        </p:nvSpPr>
        <p:spPr>
          <a:xfrm>
            <a:off x="324000" y="634638"/>
            <a:ext cx="6408588" cy="2737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rgbClr val="009A3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829747" y="4649087"/>
            <a:ext cx="2314253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1" hasCustomPrompt="1"/>
          </p:nvPr>
        </p:nvSpPr>
        <p:spPr>
          <a:xfrm>
            <a:off x="322263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rgbClr val="009A3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490900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rgbClr val="009A3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33" hasCustomPrompt="1"/>
          </p:nvPr>
        </p:nvSpPr>
        <p:spPr>
          <a:xfrm>
            <a:off x="4648941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rgbClr val="009A3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34" hasCustomPrompt="1"/>
          </p:nvPr>
        </p:nvSpPr>
        <p:spPr>
          <a:xfrm>
            <a:off x="6915280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rgbClr val="FFFEFF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6FB6BA9D-05ED-4326-80FD-20B8B00EDEF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3850" y="65088"/>
            <a:ext cx="4143375" cy="25558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800" spc="300">
                <a:latin typeface="+mj-lt"/>
              </a:defRPr>
            </a:lvl1pPr>
            <a:lvl2pPr marL="0" indent="0">
              <a:buNone/>
              <a:defRPr/>
            </a:lvl2pPr>
            <a:lvl3pPr marL="98550" indent="0">
              <a:buNone/>
              <a:defRPr/>
            </a:lvl3pPr>
            <a:lvl4pPr marL="233550" indent="0">
              <a:buNone/>
              <a:defRPr/>
            </a:lvl4pPr>
            <a:lvl5pPr marL="638550" indent="0">
              <a:buNone/>
              <a:defRPr/>
            </a:lvl5pPr>
          </a:lstStyle>
          <a:p>
            <a:pPr lvl="0"/>
            <a:r>
              <a:rPr lang="de-DE" dirty="0"/>
              <a:t>GLIEDERUNG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6BEAB23F-4F3B-415B-829C-0E0BB1C8AE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 flipV="1">
            <a:off x="-2" y="3662148"/>
            <a:ext cx="6829749" cy="608777"/>
          </a:xfrm>
          <a:prstGeom prst="rect">
            <a:avLst/>
          </a:prstGeom>
        </p:spPr>
      </p:pic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2492131" y="1357533"/>
            <a:ext cx="2000579" cy="2513882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3" name="Inhaltsplatzhalter 2"/>
          <p:cNvSpPr>
            <a:spLocks noGrp="1"/>
          </p:cNvSpPr>
          <p:nvPr>
            <p:ph idx="23" hasCustomPrompt="1"/>
          </p:nvPr>
        </p:nvSpPr>
        <p:spPr>
          <a:xfrm>
            <a:off x="4651998" y="1357534"/>
            <a:ext cx="2007261" cy="2513881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1" name="Inhaltsplatzhalter 2"/>
          <p:cNvSpPr>
            <a:spLocks noGrp="1"/>
          </p:cNvSpPr>
          <p:nvPr>
            <p:ph idx="29" hasCustomPrompt="1"/>
          </p:nvPr>
        </p:nvSpPr>
        <p:spPr>
          <a:xfrm>
            <a:off x="324000" y="1357533"/>
            <a:ext cx="2009140" cy="2513882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D3B0CEAB-DE1F-4FFF-9A42-9592DE46BA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 flipV="1">
            <a:off x="-2" y="3662148"/>
            <a:ext cx="6829749" cy="608777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7A2686-A60C-499F-836D-4BB2ED606A0A}"/>
              </a:ext>
            </a:extLst>
          </p:cNvPr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fld id="{1786F221-40BC-455F-AD2A-5DBB0694416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09120B7-F653-4BE6-A223-D98E2D5FCE91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810202D-F04A-400C-AC00-BCBB08228C8A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5921702"/>
      </p:ext>
    </p:extLst>
  </p:cSld>
  <p:clrMapOvr>
    <a:masterClrMapping/>
  </p:clrMapOvr>
  <p:transition spd="slow" advClick="0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Titelfoli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8C740D-11C8-4B4A-980A-D591AFFB49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885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8C740D-11C8-4B4A-980A-D591AFFB4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E9BBEBD5-E132-9D46-A2D4-314B1BA5912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9143999" cy="514349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97788C4-11E3-6545-BF2C-30D42676A6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3494" y="-1"/>
            <a:ext cx="3864576" cy="515169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C76B2EB1-3971-2941-8AA7-CA52CFFB2CC4}"/>
              </a:ext>
            </a:extLst>
          </p:cNvPr>
          <p:cNvSpPr/>
          <p:nvPr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latin typeface="Source Sans Pro" charset="0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EBE34455-87F9-4254-BD74-8EF2C191A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5" y="2463210"/>
            <a:ext cx="3278059" cy="1750979"/>
          </a:xfr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de-DE" sz="2400">
                <a:solidFill>
                  <a:srgbClr val="009B3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pPr marL="0" lvl="0" defTabSz="914400">
              <a:lnSpc>
                <a:spcPct val="90000"/>
              </a:lnSpc>
            </a:pPr>
            <a:r>
              <a:rPr lang="de-DE" dirty="0"/>
              <a:t>Mastertitelformat bearbeiten mit Text, bis zu drei Zeile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6C6F5742-354A-A346-8B11-00D1DE55256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935062C2-DF4E-4F7D-8D87-DCA0A79D8A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4214813"/>
            <a:ext cx="3278187" cy="4587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solidFill>
                  <a:schemeClr val="tx2"/>
                </a:solidFill>
                <a:latin typeface="+mj-lt"/>
              </a:defRPr>
            </a:lvl2pPr>
            <a:lvl3pPr marL="98550" indent="0">
              <a:buFontTx/>
              <a:buNone/>
              <a:defRPr/>
            </a:lvl3pPr>
            <a:lvl4pPr marL="233550" indent="0">
              <a:buFontTx/>
              <a:buNone/>
              <a:defRPr/>
            </a:lvl4pPr>
            <a:lvl5pPr marL="638550" indent="0">
              <a:buFontTx/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  <a:p>
            <a:pPr lvl="1"/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4362854-732A-4C04-944C-2CA24543549E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8" name="Flussdiagramm: Daten 1">
              <a:extLst>
                <a:ext uri="{FF2B5EF4-FFF2-40B4-BE49-F238E27FC236}">
                  <a16:creationId xmlns:a16="http://schemas.microsoft.com/office/drawing/2014/main" id="{F6DDBB2F-3A39-4B5D-8C64-BC08546CC8AC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9AF373B-8146-4745-BEEB-D8E82E470FBC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AA2EAA2C-BECA-4EDA-908E-7A7D0DB8C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5AE1666C-DB64-49B7-AF62-8F6DF46D2E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324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51" imgH="351" progId="TCLayout.ActiveDocument.1">
                  <p:embed/>
                </p:oleObj>
              </mc:Choice>
              <mc:Fallback>
                <p:oleObj name="think-cell Folie" r:id="rId12" imgW="351" imgH="351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5AE1666C-DB64-49B7-AF62-8F6DF46D2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>
            <a:extLst>
              <a:ext uri="{FF2B5EF4-FFF2-40B4-BE49-F238E27FC236}">
                <a16:creationId xmlns:a16="http://schemas.microsoft.com/office/drawing/2014/main" id="{2D62F90F-6BC2-46F6-B27A-F6893EA4240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783" y="275669"/>
            <a:ext cx="1548071" cy="398912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AFA817D8-FBEC-4F6A-B3D2-8B714B935B97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9" name="Flussdiagramm: Daten 1">
              <a:extLst>
                <a:ext uri="{FF2B5EF4-FFF2-40B4-BE49-F238E27FC236}">
                  <a16:creationId xmlns:a16="http://schemas.microsoft.com/office/drawing/2014/main" id="{DBA5A8DD-271B-4DD5-89C2-52577ED0C981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6A288C25-DD5D-4E71-B505-1A96AF6EBBDE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A73597E5-D644-46E6-96D8-6348681D0B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7F76325-7E5D-4FEE-A2C3-F8398304BB6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DA5BB13-C983-4B03-BB37-825D24A76BA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E46BB33-239E-4505-A888-51DB5B046D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9E6DE68-2DCA-4409-80B4-ABF59256DF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4281016"/>
      </p:ext>
    </p:extLst>
  </p:cSld>
  <p:clrMapOvr>
    <a:masterClrMapping/>
  </p:clrMapOvr>
  <p:transition spd="slow" advClick="0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_Stando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C4CDD040-6975-4154-9679-21AC00597C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714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592" imgH="591" progId="TCLayout.ActiveDocument.1">
                  <p:embed/>
                </p:oleObj>
              </mc:Choice>
              <mc:Fallback>
                <p:oleObj name="think-cell Folie" r:id="rId11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C4CDD040-6975-4154-9679-21AC00597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1D705937-2095-4573-9BA5-AAC47547D25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54" y="0"/>
            <a:ext cx="9141291" cy="486044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B821385-2632-43F6-B5E4-6A377F6C2119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26927" t="7757" r="27685" b="5605"/>
          <a:stretch/>
        </p:blipFill>
        <p:spPr>
          <a:xfrm>
            <a:off x="3066735" y="224660"/>
            <a:ext cx="3010530" cy="4061693"/>
          </a:xfrm>
          <a:prstGeom prst="rect">
            <a:avLst/>
          </a:prstGeom>
        </p:spPr>
      </p:pic>
      <p:cxnSp>
        <p:nvCxnSpPr>
          <p:cNvPr id="7" name="Gerade Verbindung 15">
            <a:extLst>
              <a:ext uri="{FF2B5EF4-FFF2-40B4-BE49-F238E27FC236}">
                <a16:creationId xmlns:a16="http://schemas.microsoft.com/office/drawing/2014/main" id="{65834A9F-EEFD-4717-831E-28E9AF4B11E7}"/>
              </a:ext>
            </a:extLst>
          </p:cNvPr>
          <p:cNvCxnSpPr>
            <a:cxnSpLocks/>
          </p:cNvCxnSpPr>
          <p:nvPr/>
        </p:nvCxnSpPr>
        <p:spPr>
          <a:xfrm flipV="1">
            <a:off x="5459958" y="1278402"/>
            <a:ext cx="1167510" cy="279077"/>
          </a:xfrm>
          <a:prstGeom prst="line">
            <a:avLst/>
          </a:prstGeom>
          <a:ln w="9525">
            <a:solidFill>
              <a:srgbClr val="FFFEF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NativeTextbox_ID_95">
            <a:extLst>
              <a:ext uri="{FF2B5EF4-FFF2-40B4-BE49-F238E27FC236}">
                <a16:creationId xmlns:a16="http://schemas.microsoft.com/office/drawing/2014/main" id="{CDC9B843-084C-4566-A74D-8E7929354FC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6627468" y="1129830"/>
            <a:ext cx="1475044" cy="867930"/>
          </a:xfrm>
          <a:prstGeom prst="rect">
            <a:avLst/>
          </a:prstGeom>
          <a:noFill/>
        </p:spPr>
        <p:txBody>
          <a:bodyPr vert="horz" wrap="square" lIns="9000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>
                <a:solidFill>
                  <a:srgbClr val="FFFEFF"/>
                </a:solidFill>
                <a:latin typeface="+mj-lt"/>
                <a:ea typeface="Roboto Slab" pitchFamily="2" charset="0"/>
                <a:cs typeface="Times" panose="02020603050405020304" pitchFamily="18" charset="0"/>
              </a:rPr>
              <a:t>Büro Berlin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Halle 20 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 err="1">
                <a:solidFill>
                  <a:srgbClr val="FFFEFF"/>
                </a:solidFill>
                <a:cs typeface="Times" panose="02020603050405020304" pitchFamily="18" charset="0"/>
              </a:rPr>
              <a:t>Bouchéstraße</a:t>
            </a: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 12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12435  Berlin</a:t>
            </a:r>
          </a:p>
        </p:txBody>
      </p:sp>
      <p:cxnSp>
        <p:nvCxnSpPr>
          <p:cNvPr id="9" name="Gerade Verbindung 17">
            <a:extLst>
              <a:ext uri="{FF2B5EF4-FFF2-40B4-BE49-F238E27FC236}">
                <a16:creationId xmlns:a16="http://schemas.microsoft.com/office/drawing/2014/main" id="{B934CDB6-1A46-4002-852F-FF318379CA53}"/>
              </a:ext>
            </a:extLst>
          </p:cNvPr>
          <p:cNvCxnSpPr>
            <a:cxnSpLocks/>
          </p:cNvCxnSpPr>
          <p:nvPr/>
        </p:nvCxnSpPr>
        <p:spPr>
          <a:xfrm flipV="1">
            <a:off x="4971143" y="2646844"/>
            <a:ext cx="1656325" cy="1010756"/>
          </a:xfrm>
          <a:prstGeom prst="line">
            <a:avLst/>
          </a:prstGeom>
          <a:ln w="9525">
            <a:solidFill>
              <a:srgbClr val="FFFEF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NativeTextbox_ID_95">
            <a:extLst>
              <a:ext uri="{FF2B5EF4-FFF2-40B4-BE49-F238E27FC236}">
                <a16:creationId xmlns:a16="http://schemas.microsoft.com/office/drawing/2014/main" id="{4F210C0F-23B8-4075-A53F-82D829E38D5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627468" y="2504418"/>
            <a:ext cx="2049748" cy="683264"/>
          </a:xfrm>
          <a:prstGeom prst="rect">
            <a:avLst/>
          </a:prstGeom>
          <a:noFill/>
        </p:spPr>
        <p:txBody>
          <a:bodyPr vert="horz" wrap="square" lIns="9000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>
                <a:solidFill>
                  <a:srgbClr val="FFFEFF"/>
                </a:solidFill>
                <a:latin typeface="+mj-lt"/>
                <a:ea typeface="Roboto Slab" pitchFamily="2" charset="0"/>
                <a:cs typeface="Times" panose="02020603050405020304" pitchFamily="18" charset="0"/>
              </a:rPr>
              <a:t>Zentrale bei München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Am Hochacker 4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85630 Grasbrunn</a:t>
            </a:r>
          </a:p>
        </p:txBody>
      </p:sp>
      <p:sp>
        <p:nvSpPr>
          <p:cNvPr id="11" name="NativeTextbox_ID_95">
            <a:extLst>
              <a:ext uri="{FF2B5EF4-FFF2-40B4-BE49-F238E27FC236}">
                <a16:creationId xmlns:a16="http://schemas.microsoft.com/office/drawing/2014/main" id="{48714DF1-2573-4089-B00B-FC5A51E567F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88432" y="1129830"/>
            <a:ext cx="2410127" cy="701731"/>
          </a:xfrm>
          <a:prstGeom prst="rect">
            <a:avLst/>
          </a:prstGeom>
          <a:noFill/>
        </p:spPr>
        <p:txBody>
          <a:bodyPr vert="horz" wrap="square" lIns="9000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>
                <a:solidFill>
                  <a:srgbClr val="FFFEFF"/>
                </a:solidFill>
                <a:latin typeface="+mj-lt"/>
                <a:ea typeface="Roboto Slab" pitchFamily="2" charset="0"/>
                <a:cs typeface="Times" panose="02020603050405020304" pitchFamily="18" charset="0"/>
              </a:rPr>
              <a:t>Niederlassung Düsseldorf</a:t>
            </a:r>
          </a:p>
          <a:p>
            <a:pPr lvl="1" algn="r"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Kreuzstraße 20</a:t>
            </a:r>
          </a:p>
          <a:p>
            <a:pPr lvl="1" algn="r">
              <a:lnSpc>
                <a:spcPct val="100000"/>
              </a:lnSpc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40210 Düsseldorf</a:t>
            </a:r>
          </a:p>
        </p:txBody>
      </p:sp>
      <p:cxnSp>
        <p:nvCxnSpPr>
          <p:cNvPr id="12" name="Gerade Verbindung 20">
            <a:extLst>
              <a:ext uri="{FF2B5EF4-FFF2-40B4-BE49-F238E27FC236}">
                <a16:creationId xmlns:a16="http://schemas.microsoft.com/office/drawing/2014/main" id="{55B2B661-B4A8-4EF2-B043-94DDC1660470}"/>
              </a:ext>
            </a:extLst>
          </p:cNvPr>
          <p:cNvCxnSpPr>
            <a:cxnSpLocks/>
          </p:cNvCxnSpPr>
          <p:nvPr/>
        </p:nvCxnSpPr>
        <p:spPr>
          <a:xfrm flipH="1" flipV="1">
            <a:off x="2678446" y="1278402"/>
            <a:ext cx="762556" cy="860072"/>
          </a:xfrm>
          <a:prstGeom prst="line">
            <a:avLst/>
          </a:prstGeom>
          <a:ln w="9525">
            <a:solidFill>
              <a:srgbClr val="FFFEF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NativeTextbox_ID_95">
            <a:extLst>
              <a:ext uri="{FF2B5EF4-FFF2-40B4-BE49-F238E27FC236}">
                <a16:creationId xmlns:a16="http://schemas.microsoft.com/office/drawing/2014/main" id="{83FACB66-5A4B-4F89-93EE-3FE1672C5E6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14393" y="2570837"/>
            <a:ext cx="2284166" cy="709490"/>
          </a:xfrm>
          <a:prstGeom prst="rect">
            <a:avLst/>
          </a:prstGeom>
          <a:noFill/>
        </p:spPr>
        <p:txBody>
          <a:bodyPr vert="horz" wrap="square" lIns="9000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>
                <a:solidFill>
                  <a:srgbClr val="FFFEFF"/>
                </a:solidFill>
                <a:latin typeface="+mj-lt"/>
                <a:ea typeface="Roboto Slab" pitchFamily="2" charset="0"/>
                <a:cs typeface="Times" panose="02020603050405020304" pitchFamily="18" charset="0"/>
              </a:rPr>
              <a:t>Büro Frankfurt</a:t>
            </a:r>
          </a:p>
          <a:p>
            <a:pPr lvl="1" algn="r">
              <a:spcAft>
                <a:spcPts val="0"/>
              </a:spcAft>
            </a:pPr>
            <a:r>
              <a:rPr lang="de-DE" sz="1200" dirty="0" err="1">
                <a:solidFill>
                  <a:srgbClr val="FFFEFF"/>
                </a:solidFill>
                <a:cs typeface="Times" panose="02020603050405020304" pitchFamily="18" charset="0"/>
              </a:rPr>
              <a:t>Gerbermühlstraße</a:t>
            </a: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 7</a:t>
            </a:r>
          </a:p>
          <a:p>
            <a:pPr lvl="1" algn="r"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60594 Frankfurt a. M.</a:t>
            </a:r>
          </a:p>
        </p:txBody>
      </p:sp>
      <p:cxnSp>
        <p:nvCxnSpPr>
          <p:cNvPr id="14" name="Gerade Verbindung 24">
            <a:extLst>
              <a:ext uri="{FF2B5EF4-FFF2-40B4-BE49-F238E27FC236}">
                <a16:creationId xmlns:a16="http://schemas.microsoft.com/office/drawing/2014/main" id="{F3F46C91-C9A4-4963-9EDB-C8FDA2EC101F}"/>
              </a:ext>
            </a:extLst>
          </p:cNvPr>
          <p:cNvCxnSpPr>
            <a:cxnSpLocks/>
          </p:cNvCxnSpPr>
          <p:nvPr/>
        </p:nvCxnSpPr>
        <p:spPr>
          <a:xfrm flipH="1">
            <a:off x="2678446" y="2646844"/>
            <a:ext cx="1354910" cy="66202"/>
          </a:xfrm>
          <a:prstGeom prst="line">
            <a:avLst/>
          </a:prstGeom>
          <a:ln w="9525">
            <a:solidFill>
              <a:srgbClr val="FFFEF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E046375C-1BF9-4E06-ADFB-8C72C233DD06}"/>
              </a:ext>
            </a:extLst>
          </p:cNvPr>
          <p:cNvSpPr txBox="1"/>
          <p:nvPr/>
        </p:nvSpPr>
        <p:spPr>
          <a:xfrm>
            <a:off x="6701606" y="4461000"/>
            <a:ext cx="20697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+mj-lt"/>
              </a:rPr>
              <a:t>www.woodmark.de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137C570-5934-42F4-8684-AA37174DEAC7}"/>
              </a:ext>
            </a:extLst>
          </p:cNvPr>
          <p:cNvSpPr/>
          <p:nvPr/>
        </p:nvSpPr>
        <p:spPr>
          <a:xfrm>
            <a:off x="7898860" y="3176"/>
            <a:ext cx="1241965" cy="1014986"/>
          </a:xfrm>
          <a:prstGeom prst="rect">
            <a:avLst/>
          </a:prstGeom>
          <a:solidFill>
            <a:srgbClr val="018E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73B4D82-D5F3-4DAB-862C-9F73165B794B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9" name="Flussdiagramm: Daten 1">
              <a:extLst>
                <a:ext uri="{FF2B5EF4-FFF2-40B4-BE49-F238E27FC236}">
                  <a16:creationId xmlns:a16="http://schemas.microsoft.com/office/drawing/2014/main" id="{7B023C19-FB61-491C-B155-F8DE9339886B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48F26CBB-115A-45B1-B6B2-03D0CAF64E27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93AA2691-3AFE-470F-BE59-F18701F3C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AF254352-AA5D-4CB6-BA2C-C3D36D937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35152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592" imgH="591" progId="TCLayout.ActiveDocument.1">
                  <p:embed/>
                </p:oleObj>
              </mc:Choice>
              <mc:Fallback>
                <p:oleObj name="think-cell Folie" r:id="rId17" imgW="592" imgH="591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AF254352-AA5D-4CB6-BA2C-C3D36D937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Grafik 23">
            <a:extLst>
              <a:ext uri="{FF2B5EF4-FFF2-40B4-BE49-F238E27FC236}">
                <a16:creationId xmlns:a16="http://schemas.microsoft.com/office/drawing/2014/main" id="{024FB540-A126-4575-896E-1D20FB4B867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354" y="0"/>
            <a:ext cx="9141291" cy="486044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57DF2277-C234-4DD8-95A0-5EB61C24DC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26927" t="7757" r="27685" b="5605"/>
          <a:stretch/>
        </p:blipFill>
        <p:spPr>
          <a:xfrm>
            <a:off x="3066735" y="224660"/>
            <a:ext cx="3010530" cy="4061693"/>
          </a:xfrm>
          <a:prstGeom prst="rect">
            <a:avLst/>
          </a:prstGeom>
        </p:spPr>
      </p:pic>
      <p:cxnSp>
        <p:nvCxnSpPr>
          <p:cNvPr id="26" name="Gerade Verbindung 15">
            <a:extLst>
              <a:ext uri="{FF2B5EF4-FFF2-40B4-BE49-F238E27FC236}">
                <a16:creationId xmlns:a16="http://schemas.microsoft.com/office/drawing/2014/main" id="{D5C28EE6-80D0-4E2D-8C5F-8A6271735F0D}"/>
              </a:ext>
            </a:extLst>
          </p:cNvPr>
          <p:cNvCxnSpPr>
            <a:cxnSpLocks/>
          </p:cNvCxnSpPr>
          <p:nvPr userDrawn="1"/>
        </p:nvCxnSpPr>
        <p:spPr>
          <a:xfrm flipV="1">
            <a:off x="5459958" y="1278402"/>
            <a:ext cx="1167510" cy="279077"/>
          </a:xfrm>
          <a:prstGeom prst="line">
            <a:avLst/>
          </a:prstGeom>
          <a:ln w="9525">
            <a:solidFill>
              <a:srgbClr val="FFFEF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NativeTextbox_ID_95">
            <a:extLst>
              <a:ext uri="{FF2B5EF4-FFF2-40B4-BE49-F238E27FC236}">
                <a16:creationId xmlns:a16="http://schemas.microsoft.com/office/drawing/2014/main" id="{F9C2D61E-5A0E-4580-96C7-F108897A526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 bwMode="gray">
          <a:xfrm>
            <a:off x="6627468" y="1129830"/>
            <a:ext cx="1475044" cy="683264"/>
          </a:xfrm>
          <a:prstGeom prst="rect">
            <a:avLst/>
          </a:prstGeom>
          <a:noFill/>
        </p:spPr>
        <p:txBody>
          <a:bodyPr vert="horz" wrap="square" lIns="9000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>
                <a:solidFill>
                  <a:srgbClr val="FFFEFF"/>
                </a:solidFill>
                <a:latin typeface="+mj-lt"/>
                <a:ea typeface="Roboto Slab" pitchFamily="2" charset="0"/>
                <a:cs typeface="Times" panose="02020603050405020304" pitchFamily="18" charset="0"/>
              </a:rPr>
              <a:t>Büro Berlin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Leipziger Platz 16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>
                <a:solidFill>
                  <a:srgbClr val="FFFEFF"/>
                </a:solidFill>
                <a:cs typeface="Times" panose="02020603050405020304" pitchFamily="18" charset="0"/>
              </a:rPr>
              <a:t>10117  </a:t>
            </a: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Berlin</a:t>
            </a:r>
          </a:p>
        </p:txBody>
      </p:sp>
      <p:cxnSp>
        <p:nvCxnSpPr>
          <p:cNvPr id="28" name="Gerade Verbindung 17">
            <a:extLst>
              <a:ext uri="{FF2B5EF4-FFF2-40B4-BE49-F238E27FC236}">
                <a16:creationId xmlns:a16="http://schemas.microsoft.com/office/drawing/2014/main" id="{48F3EBD2-FA39-4BDC-9103-5E064DF12494}"/>
              </a:ext>
            </a:extLst>
          </p:cNvPr>
          <p:cNvCxnSpPr>
            <a:cxnSpLocks/>
          </p:cNvCxnSpPr>
          <p:nvPr userDrawn="1"/>
        </p:nvCxnSpPr>
        <p:spPr>
          <a:xfrm flipV="1">
            <a:off x="4971143" y="2646844"/>
            <a:ext cx="1656325" cy="1010756"/>
          </a:xfrm>
          <a:prstGeom prst="line">
            <a:avLst/>
          </a:prstGeom>
          <a:ln w="9525">
            <a:solidFill>
              <a:srgbClr val="FFFEF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NativeTextbox_ID_95">
            <a:extLst>
              <a:ext uri="{FF2B5EF4-FFF2-40B4-BE49-F238E27FC236}">
                <a16:creationId xmlns:a16="http://schemas.microsoft.com/office/drawing/2014/main" id="{5CADE870-0214-4A65-8CCC-8ADF312B81F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 bwMode="gray">
          <a:xfrm>
            <a:off x="6627468" y="2504418"/>
            <a:ext cx="2049748" cy="683264"/>
          </a:xfrm>
          <a:prstGeom prst="rect">
            <a:avLst/>
          </a:prstGeom>
          <a:noFill/>
        </p:spPr>
        <p:txBody>
          <a:bodyPr vert="horz" wrap="square" lIns="9000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>
                <a:solidFill>
                  <a:srgbClr val="FFFEFF"/>
                </a:solidFill>
                <a:latin typeface="+mj-lt"/>
                <a:ea typeface="Roboto Slab" pitchFamily="2" charset="0"/>
                <a:cs typeface="Times" panose="02020603050405020304" pitchFamily="18" charset="0"/>
              </a:rPr>
              <a:t>Zentrale bei München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Am Hochacker 4</a:t>
            </a:r>
          </a:p>
          <a:p>
            <a:pPr lvl="1">
              <a:lnSpc>
                <a:spcPct val="100000"/>
              </a:lnSpc>
              <a:spcAft>
                <a:spcPts val="0"/>
              </a:spcAft>
            </a:pP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85630 Grasbrunn</a:t>
            </a:r>
          </a:p>
        </p:txBody>
      </p:sp>
      <p:sp>
        <p:nvSpPr>
          <p:cNvPr id="30" name="NativeTextbox_ID_95">
            <a:extLst>
              <a:ext uri="{FF2B5EF4-FFF2-40B4-BE49-F238E27FC236}">
                <a16:creationId xmlns:a16="http://schemas.microsoft.com/office/drawing/2014/main" id="{B0233895-38F4-4A9B-AAED-6A639E958965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188432" y="1129830"/>
            <a:ext cx="2410127" cy="683264"/>
          </a:xfrm>
          <a:prstGeom prst="rect">
            <a:avLst/>
          </a:prstGeom>
          <a:noFill/>
        </p:spPr>
        <p:txBody>
          <a:bodyPr vert="horz" wrap="square" lIns="9000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>
                <a:solidFill>
                  <a:srgbClr val="FFFEFF"/>
                </a:solidFill>
                <a:latin typeface="+mj-lt"/>
                <a:ea typeface="Roboto Slab" pitchFamily="2" charset="0"/>
                <a:cs typeface="Times" panose="02020603050405020304" pitchFamily="18" charset="0"/>
              </a:rPr>
              <a:t>Niederlassung Düsseldorf</a:t>
            </a:r>
          </a:p>
          <a:p>
            <a:pPr lvl="1" algn="r">
              <a:lnSpc>
                <a:spcPct val="100000"/>
              </a:lnSpc>
              <a:spcAft>
                <a:spcPts val="0"/>
              </a:spcAft>
            </a:pPr>
            <a:r>
              <a:rPr lang="de-DE" sz="1200" dirty="0" err="1">
                <a:solidFill>
                  <a:srgbClr val="FFFEFF"/>
                </a:solidFill>
                <a:cs typeface="Times" panose="02020603050405020304" pitchFamily="18" charset="0"/>
              </a:rPr>
              <a:t>Liesegangstraße</a:t>
            </a:r>
            <a:r>
              <a:rPr lang="de-DE" sz="1200">
                <a:solidFill>
                  <a:srgbClr val="FFFEFF"/>
                </a:solidFill>
                <a:cs typeface="Times" panose="02020603050405020304" pitchFamily="18" charset="0"/>
              </a:rPr>
              <a:t> 17</a:t>
            </a:r>
            <a:br>
              <a:rPr lang="de-DE" sz="1200">
                <a:solidFill>
                  <a:srgbClr val="FFFEFF"/>
                </a:solidFill>
                <a:cs typeface="Times" panose="02020603050405020304" pitchFamily="18" charset="0"/>
              </a:rPr>
            </a:br>
            <a:r>
              <a:rPr lang="de-DE" sz="1200">
                <a:solidFill>
                  <a:srgbClr val="FFFEFF"/>
                </a:solidFill>
                <a:cs typeface="Times" panose="02020603050405020304" pitchFamily="18" charset="0"/>
              </a:rPr>
              <a:t>40211 </a:t>
            </a:r>
            <a:r>
              <a:rPr lang="de-DE" sz="1200" dirty="0">
                <a:solidFill>
                  <a:srgbClr val="FFFEFF"/>
                </a:solidFill>
                <a:cs typeface="Times" panose="02020603050405020304" pitchFamily="18" charset="0"/>
              </a:rPr>
              <a:t>Düsseldorf</a:t>
            </a:r>
          </a:p>
        </p:txBody>
      </p:sp>
      <p:cxnSp>
        <p:nvCxnSpPr>
          <p:cNvPr id="31" name="Gerade Verbindung 20">
            <a:extLst>
              <a:ext uri="{FF2B5EF4-FFF2-40B4-BE49-F238E27FC236}">
                <a16:creationId xmlns:a16="http://schemas.microsoft.com/office/drawing/2014/main" id="{4ED89C6C-E08C-4681-A78F-4910B8304548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2678446" y="1278402"/>
            <a:ext cx="762556" cy="860072"/>
          </a:xfrm>
          <a:prstGeom prst="line">
            <a:avLst/>
          </a:prstGeom>
          <a:ln w="9525">
            <a:solidFill>
              <a:srgbClr val="FFFEF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DB2C6B38-30FB-493B-A01F-851E371AC780}"/>
              </a:ext>
            </a:extLst>
          </p:cNvPr>
          <p:cNvSpPr txBox="1"/>
          <p:nvPr userDrawn="1"/>
        </p:nvSpPr>
        <p:spPr>
          <a:xfrm>
            <a:off x="6701606" y="4461000"/>
            <a:ext cx="20697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+mj-lt"/>
              </a:rPr>
              <a:t>www.woodmark.de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A38820CE-6DD3-4311-9129-AAF6749531C8}"/>
              </a:ext>
            </a:extLst>
          </p:cNvPr>
          <p:cNvSpPr/>
          <p:nvPr userDrawn="1"/>
        </p:nvSpPr>
        <p:spPr>
          <a:xfrm>
            <a:off x="7898860" y="3176"/>
            <a:ext cx="1241965" cy="1014986"/>
          </a:xfrm>
          <a:prstGeom prst="rect">
            <a:avLst/>
          </a:prstGeom>
          <a:solidFill>
            <a:srgbClr val="018E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1C866980-2FDE-44EF-BA3D-CA7AD4D4B14C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37" name="Flussdiagramm: Daten 1">
              <a:extLst>
                <a:ext uri="{FF2B5EF4-FFF2-40B4-BE49-F238E27FC236}">
                  <a16:creationId xmlns:a16="http://schemas.microsoft.com/office/drawing/2014/main" id="{01D3FFB2-75DD-4CC1-BF36-1E65CA22C4AD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BF4910B4-1B83-497D-BF71-600B26595B87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D5F4B3BB-862F-4253-83E7-95BA6B57A2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F6DCA4-5422-471E-9D71-A291584810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71DF35-44AE-47DC-A40C-2B56EDE834DD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0" name="Fußzeilenplatzhalter 39">
            <a:extLst>
              <a:ext uri="{FF2B5EF4-FFF2-40B4-BE49-F238E27FC236}">
                <a16:creationId xmlns:a16="http://schemas.microsoft.com/office/drawing/2014/main" id="{5C2B92F8-57E1-411E-BE0B-06DBB873B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41" name="Foliennummernplatzhalter 40">
            <a:extLst>
              <a:ext uri="{FF2B5EF4-FFF2-40B4-BE49-F238E27FC236}">
                <a16:creationId xmlns:a16="http://schemas.microsoft.com/office/drawing/2014/main" id="{871E5812-B94B-491B-94D1-A902FAFB9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2069200"/>
      </p:ext>
    </p:extLst>
  </p:cSld>
  <p:clrMapOvr>
    <a:masterClrMapping/>
  </p:clrMapOvr>
  <p:transition spd="slow" advClick="0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el Inhalte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 Verbindung 15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567438" cy="648000"/>
          </a:xfrm>
          <a:noFill/>
        </p:spPr>
        <p:txBody>
          <a:bodyPr>
            <a:normAutofit/>
          </a:bodyPr>
          <a:lstStyle>
            <a:lvl1pPr>
              <a:defRPr sz="20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23" name="Gerade Verbindung 22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25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853598E3-D410-4D0D-B4D1-1F51A53DC888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2810"/>
            <a:ext cx="4248001" cy="353742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3" hasCustomPrompt="1"/>
          </p:nvPr>
        </p:nvSpPr>
        <p:spPr>
          <a:xfrm>
            <a:off x="4643718" y="1063817"/>
            <a:ext cx="4248001" cy="353742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2065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el InhalteNum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 Verbindung 15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23999" y="324000"/>
            <a:ext cx="8569175" cy="648000"/>
          </a:xfrm>
          <a:noFill/>
        </p:spPr>
        <p:txBody>
          <a:bodyPr>
            <a:normAutofit/>
          </a:bodyPr>
          <a:lstStyle>
            <a:lvl1pPr>
              <a:defRPr sz="20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23" name="Gerade Verbindung 22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25" name="Datumsplatzhalter 3"/>
          <p:cNvSpPr>
            <a:spLocks noGrp="1"/>
          </p:cNvSpPr>
          <p:nvPr>
            <p:ph type="dt" sz="half" idx="15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72E19AA-A699-4F48-A64C-4A6F11F7E80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0450"/>
            <a:ext cx="4248001" cy="353978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rgbClr val="204232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6" hasCustomPrompt="1"/>
          </p:nvPr>
        </p:nvSpPr>
        <p:spPr>
          <a:xfrm>
            <a:off x="4643718" y="1060450"/>
            <a:ext cx="4248001" cy="353978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rgbClr val="204232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29516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Titel Untertitel Inhalten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2598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0" y="1059657"/>
            <a:ext cx="4244254" cy="53998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3438" y="1059657"/>
            <a:ext cx="4249738" cy="53998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0" name="Gerade Verbindung 19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568000" cy="648000"/>
          </a:xfrm>
        </p:spPr>
        <p:txBody>
          <a:bodyPr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27" name="Gerade Verbindung 26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22" name="Datumsplatzhalter 3"/>
          <p:cNvSpPr>
            <a:spLocks noGrp="1"/>
          </p:cNvSpPr>
          <p:nvPr>
            <p:ph type="dt" sz="half" idx="15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841D5751-535A-4F4D-9ACC-4928846EB8B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7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idx="18" hasCustomPrompt="1"/>
          </p:nvPr>
        </p:nvSpPr>
        <p:spPr>
          <a:xfrm>
            <a:off x="325456" y="1687298"/>
            <a:ext cx="4248001" cy="2912939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9" hasCustomPrompt="1"/>
          </p:nvPr>
        </p:nvSpPr>
        <p:spPr>
          <a:xfrm>
            <a:off x="4645175" y="1687299"/>
            <a:ext cx="4248001" cy="291394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00415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otschaft Inhalte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386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 Verbindung 15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567438" cy="648000"/>
          </a:xfrm>
          <a:noFill/>
        </p:spPr>
        <p:txBody>
          <a:bodyPr>
            <a:normAutofit/>
          </a:bodyPr>
          <a:lstStyle>
            <a:lvl1pPr>
              <a:defRPr sz="14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23" name="Gerade Verbindung 22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25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76475D9D-EDC0-452C-80B6-3E1891BA544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2810"/>
            <a:ext cx="4248001" cy="353742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3" hasCustomPrompt="1"/>
          </p:nvPr>
        </p:nvSpPr>
        <p:spPr>
          <a:xfrm>
            <a:off x="4643718" y="1063817"/>
            <a:ext cx="4248001" cy="353742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2250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otschaft InhalteNum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497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 Verbindung 15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323999" y="324000"/>
            <a:ext cx="8569175" cy="648000"/>
          </a:xfrm>
          <a:noFill/>
        </p:spPr>
        <p:txBody>
          <a:bodyPr>
            <a:normAutofit/>
          </a:bodyPr>
          <a:lstStyle>
            <a:lvl1pPr>
              <a:defRPr sz="14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23" name="Gerade Verbindung 22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25" name="Datumsplatzhalter 3"/>
          <p:cNvSpPr>
            <a:spLocks noGrp="1"/>
          </p:cNvSpPr>
          <p:nvPr>
            <p:ph type="dt" sz="half" idx="15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5DEE3C-BA0F-48C0-9BDB-E1AFB2A550BF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060450"/>
            <a:ext cx="4248001" cy="353978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rgbClr val="204232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6" hasCustomPrompt="1"/>
          </p:nvPr>
        </p:nvSpPr>
        <p:spPr>
          <a:xfrm>
            <a:off x="4643718" y="1060450"/>
            <a:ext cx="4248001" cy="3539788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938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lphaLcPeriod"/>
              <a:defRPr sz="1400" baseline="0">
                <a:solidFill>
                  <a:srgbClr val="204232"/>
                </a:solidFill>
                <a:latin typeface="+mn-lt"/>
              </a:defRPr>
            </a:lvl2pPr>
            <a:lvl3pPr marL="539750" indent="-177800">
              <a:lnSpc>
                <a:spcPct val="100000"/>
              </a:lnSpc>
              <a:buClr>
                <a:schemeClr val="accent1"/>
              </a:buClr>
              <a:buFont typeface="+mj-lt"/>
              <a:buAutoNum type="romanLcPeriod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900113" indent="-182563">
              <a:lnSpc>
                <a:spcPct val="100000"/>
              </a:lnSpc>
              <a:buClr>
                <a:schemeClr val="accent1"/>
              </a:buClr>
              <a:buFont typeface="+mj-lt"/>
              <a:buAutoNum type="arabicPeriod"/>
              <a:defRPr sz="14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04629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Bild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203574" y="324000"/>
            <a:ext cx="5688425" cy="44432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24000" y="1060452"/>
            <a:ext cx="2789486" cy="3539785"/>
          </a:xfrm>
          <a:prstGeom prst="rect">
            <a:avLst/>
          </a:prstGeom>
        </p:spPr>
        <p:txBody>
          <a:bodyPr lIns="0" tIns="0" rIns="72000" bIns="0"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2"/>
                </a:solidFill>
                <a:latin typeface="Roboto Slab" pitchFamily="2" charset="0"/>
                <a:ea typeface="Roboto Slab" pitchFamily="2" charset="0"/>
                <a:sym typeface="Source Sans Pro" panose="020B0503030403020204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324001"/>
            <a:ext cx="2789486" cy="736450"/>
          </a:xfrm>
          <a:noFill/>
        </p:spPr>
        <p:txBody>
          <a:bodyPr>
            <a:noAutofit/>
          </a:bodyPr>
          <a:lstStyle>
            <a:lvl1pPr marL="0" indent="-423900">
              <a:spcBef>
                <a:spcPts val="900"/>
              </a:spcBef>
              <a:defRPr sz="2000" baseline="0"/>
            </a:lvl1pPr>
          </a:lstStyle>
          <a:p>
            <a:r>
              <a:rPr lang="de-DE" dirty="0"/>
              <a:t>Mastertitelformat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cxnSp>
        <p:nvCxnSpPr>
          <p:cNvPr id="20" name="Gerade Verbindung 19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umsplatzhalter 3"/>
          <p:cNvSpPr>
            <a:spLocks noGrp="1"/>
          </p:cNvSpPr>
          <p:nvPr>
            <p:ph type="dt" sz="half" idx="10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A5AE57BE-772C-46FC-9F0E-F43F394AE8E8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2789486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de-DE" dirty="0"/>
              <a:t>Quelle: </a:t>
            </a:r>
          </a:p>
        </p:txBody>
      </p:sp>
    </p:spTree>
    <p:extLst>
      <p:ext uri="{BB962C8B-B14F-4D97-AF65-F5344CB8AC3E}">
        <p14:creationId xmlns:p14="http://schemas.microsoft.com/office/powerpoint/2010/main" val="14939604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el Untertitel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667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0" y="1059656"/>
            <a:ext cx="2088000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804025" y="1059656"/>
            <a:ext cx="2088564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3"/>
          </p:nvPr>
        </p:nvSpPr>
        <p:spPr>
          <a:xfrm>
            <a:off x="2484438" y="1060450"/>
            <a:ext cx="208732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5"/>
          </p:nvPr>
        </p:nvSpPr>
        <p:spPr>
          <a:xfrm>
            <a:off x="4644008" y="1059656"/>
            <a:ext cx="2087752" cy="648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5" name="Gerade Verbindung 24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569326" cy="648000"/>
          </a:xfrm>
          <a:noFill/>
        </p:spPr>
        <p:txBody>
          <a:bodyPr>
            <a:normAutofit/>
          </a:bodyPr>
          <a:lstStyle>
            <a:lvl1pPr>
              <a:defRPr sz="20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30" name="Gerade Verbindung 29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3"/>
          <p:cNvSpPr>
            <a:spLocks noGrp="1"/>
          </p:cNvSpPr>
          <p:nvPr>
            <p:ph sz="half" idx="17"/>
          </p:nvPr>
        </p:nvSpPr>
        <p:spPr>
          <a:xfrm>
            <a:off x="323999" y="1886487"/>
            <a:ext cx="2087413" cy="2890726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400" baseline="0">
                <a:solidFill>
                  <a:srgbClr val="204232"/>
                </a:solidFill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4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8"/>
          </p:nvPr>
        </p:nvSpPr>
        <p:spPr>
          <a:xfrm>
            <a:off x="2501031" y="1886487"/>
            <a:ext cx="2087413" cy="2890726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400" baseline="0">
                <a:solidFill>
                  <a:srgbClr val="204232"/>
                </a:solidFill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4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3" name="Inhaltsplatzhalter 3"/>
          <p:cNvSpPr>
            <a:spLocks noGrp="1"/>
          </p:cNvSpPr>
          <p:nvPr>
            <p:ph sz="half" idx="19"/>
          </p:nvPr>
        </p:nvSpPr>
        <p:spPr>
          <a:xfrm>
            <a:off x="4656705" y="1886487"/>
            <a:ext cx="2087413" cy="2890726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400" baseline="0">
                <a:solidFill>
                  <a:srgbClr val="204232"/>
                </a:solidFill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4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4" name="Inhaltsplatzhalter 3"/>
          <p:cNvSpPr>
            <a:spLocks noGrp="1"/>
          </p:cNvSpPr>
          <p:nvPr>
            <p:ph sz="half" idx="20"/>
          </p:nvPr>
        </p:nvSpPr>
        <p:spPr>
          <a:xfrm>
            <a:off x="6812379" y="1886487"/>
            <a:ext cx="2087413" cy="2890726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400" baseline="0">
                <a:solidFill>
                  <a:srgbClr val="204232"/>
                </a:solidFill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4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400" kern="1200" baseline="0" dirty="0" smtClean="0">
                <a:solidFill>
                  <a:srgbClr val="204232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4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3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C56B25A7-FD6F-48AA-A93E-7326B3A8181E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21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25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el Bild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Gerade Verbindung 24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8569326" cy="648000"/>
          </a:xfrm>
          <a:noFill/>
        </p:spPr>
        <p:txBody>
          <a:bodyPr>
            <a:normAutofit/>
          </a:bodyPr>
          <a:lstStyle>
            <a:lvl1pPr>
              <a:defRPr sz="20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30" name="Gerade Verbindung 29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3"/>
          <p:cNvSpPr>
            <a:spLocks noGrp="1"/>
          </p:cNvSpPr>
          <p:nvPr>
            <p:ph sz="half" idx="17"/>
          </p:nvPr>
        </p:nvSpPr>
        <p:spPr>
          <a:xfrm>
            <a:off x="323999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400" baseline="0">
                <a:solidFill>
                  <a:srgbClr val="204232"/>
                </a:solidFill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200" kern="1200" baseline="0" dirty="0" smtClean="0">
                <a:solidFill>
                  <a:srgbClr val="204232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2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8"/>
          </p:nvPr>
        </p:nvSpPr>
        <p:spPr>
          <a:xfrm>
            <a:off x="2501031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400" baseline="0">
                <a:solidFill>
                  <a:srgbClr val="204232"/>
                </a:solidFill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200" kern="1200" baseline="0" dirty="0" smtClean="0">
                <a:solidFill>
                  <a:srgbClr val="204232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2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3" name="Inhaltsplatzhalter 3"/>
          <p:cNvSpPr>
            <a:spLocks noGrp="1"/>
          </p:cNvSpPr>
          <p:nvPr>
            <p:ph sz="half" idx="19"/>
          </p:nvPr>
        </p:nvSpPr>
        <p:spPr>
          <a:xfrm>
            <a:off x="4656705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400" baseline="0">
                <a:solidFill>
                  <a:srgbClr val="204232"/>
                </a:solidFill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200" kern="1200" baseline="0" dirty="0" smtClean="0">
                <a:solidFill>
                  <a:srgbClr val="204232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2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4" name="Inhaltsplatzhalter 3"/>
          <p:cNvSpPr>
            <a:spLocks noGrp="1"/>
          </p:cNvSpPr>
          <p:nvPr>
            <p:ph sz="half" idx="20"/>
          </p:nvPr>
        </p:nvSpPr>
        <p:spPr>
          <a:xfrm>
            <a:off x="6812379" y="2643757"/>
            <a:ext cx="2087413" cy="2133455"/>
          </a:xfrm>
          <a:prstGeom prst="rect">
            <a:avLst/>
          </a:prstGeom>
        </p:spPr>
        <p:txBody>
          <a:bodyPr lIns="0" tIns="0" rIns="72000" bIns="0"/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>
              <a:lnSpc>
                <a:spcPct val="100000"/>
              </a:lnSpc>
              <a:defRPr sz="1400" baseline="0">
                <a:solidFill>
                  <a:srgbClr val="204232"/>
                </a:solidFill>
              </a:defRPr>
            </a:lvl2pPr>
            <a:lvl3pPr marL="361950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lnSpc>
                <a:spcPct val="100000"/>
              </a:lnSpc>
              <a:buFont typeface="Arial" panose="020B0604020202020204" pitchFamily="34" charset="0"/>
              <a:buChar char="•"/>
              <a:defRPr sz="1200" baseline="0">
                <a:solidFill>
                  <a:srgbClr val="204232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937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200" kern="1200" baseline="0" dirty="0" smtClean="0">
                <a:solidFill>
                  <a:srgbClr val="204232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074738" indent="-180975">
              <a:defRPr lang="de-DE" sz="1200" kern="1200" baseline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3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02F57C40-7CE6-46D2-9BD3-3B4C5AE30B8D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21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22"/>
          </p:nvPr>
        </p:nvSpPr>
        <p:spPr>
          <a:xfrm>
            <a:off x="647705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Bildplatzhalter 5"/>
          <p:cNvSpPr>
            <a:spLocks noGrp="1"/>
          </p:cNvSpPr>
          <p:nvPr>
            <p:ph type="pic" sz="quarter" idx="23"/>
          </p:nvPr>
        </p:nvSpPr>
        <p:spPr>
          <a:xfrm>
            <a:off x="2824737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Bildplatzhalter 5"/>
          <p:cNvSpPr>
            <a:spLocks noGrp="1"/>
          </p:cNvSpPr>
          <p:nvPr>
            <p:ph type="pic" sz="quarter" idx="24"/>
          </p:nvPr>
        </p:nvSpPr>
        <p:spPr>
          <a:xfrm>
            <a:off x="4980411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Bildplatzhalter 5"/>
          <p:cNvSpPr>
            <a:spLocks noGrp="1"/>
          </p:cNvSpPr>
          <p:nvPr>
            <p:ph type="pic" sz="quarter" idx="25"/>
          </p:nvPr>
        </p:nvSpPr>
        <p:spPr>
          <a:xfrm>
            <a:off x="7136085" y="1060449"/>
            <a:ext cx="1440000" cy="14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423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06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otschaft Untertitel Inhalt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568000" cy="648000"/>
          </a:xfrm>
        </p:spPr>
        <p:txBody>
          <a:bodyPr>
            <a:normAutofit/>
          </a:bodyPr>
          <a:lstStyle>
            <a:lvl1pPr marL="0" indent="-423900">
              <a:spcBef>
                <a:spcPts val="900"/>
              </a:spcBef>
              <a:defRPr sz="14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type="body" idx="10"/>
          </p:nvPr>
        </p:nvSpPr>
        <p:spPr>
          <a:xfrm>
            <a:off x="324000" y="1059657"/>
            <a:ext cx="8568000" cy="35996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rgbClr val="27A951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>
                <a:solidFill>
                  <a:srgbClr val="204232"/>
                </a:solidFill>
              </a:defRPr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23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762EF73F-F73B-4268-9305-FF7354944FA1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99384"/>
            <a:ext cx="8568001" cy="31008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rgbClr val="204232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solidFill>
                  <a:srgbClr val="204232"/>
                </a:solidFill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52228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Zwischen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8C740D-11C8-4B4A-980A-D591AFFB49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249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8C740D-11C8-4B4A-980A-D591AFFB4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63D4971F-20F5-4758-9297-0323E9F5AAE2}"/>
              </a:ext>
            </a:extLst>
          </p:cNvPr>
          <p:cNvSpPr/>
          <p:nvPr/>
        </p:nvSpPr>
        <p:spPr>
          <a:xfrm>
            <a:off x="-12882" y="3588745"/>
            <a:ext cx="9142980" cy="12676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>
                <a:noFill/>
              </a:ln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F8FC854-178F-4A3E-A64E-E7363909F09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6532" y="-6586"/>
            <a:ext cx="9152688" cy="240051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4530DB3-9019-4DC2-8F11-951063EC5C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-12883" y="1234174"/>
            <a:ext cx="9163232" cy="2354569"/>
          </a:xfrm>
          <a:prstGeom prst="rect">
            <a:avLst/>
          </a:prstGeom>
        </p:spPr>
      </p:pic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935062C2-DF4E-4F7D-8D87-DCA0A79D8A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6" y="2957209"/>
            <a:ext cx="8569326" cy="17163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chemeClr val="tx2"/>
                </a:solidFill>
                <a:latin typeface="+mj-lt"/>
              </a:defRPr>
            </a:lvl1pPr>
            <a:lvl2pPr marL="0" indent="0">
              <a:buFontTx/>
              <a:buNone/>
              <a:defRPr sz="1600">
                <a:solidFill>
                  <a:schemeClr val="tx2"/>
                </a:solidFill>
                <a:latin typeface="+mj-lt"/>
              </a:defRPr>
            </a:lvl2pPr>
            <a:lvl3pPr marL="98550" indent="0">
              <a:buFontTx/>
              <a:buNone/>
              <a:defRPr/>
            </a:lvl3pPr>
            <a:lvl4pPr marL="233550" indent="0">
              <a:buFontTx/>
              <a:buNone/>
              <a:defRPr/>
            </a:lvl4pPr>
            <a:lvl5pPr marL="638550" indent="0">
              <a:buFontTx/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  <a:p>
            <a:pPr lvl="1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A98CF3-3459-4F3D-AA7E-0891CABF9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080269"/>
            <a:ext cx="8569326" cy="792000"/>
          </a:xfrm>
        </p:spPr>
        <p:txBody>
          <a:bodyPr vert="horz"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F8CE0E36-703E-48E6-8C69-0998A1D8AA72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0" name="Flussdiagramm: Daten 1">
              <a:extLst>
                <a:ext uri="{FF2B5EF4-FFF2-40B4-BE49-F238E27FC236}">
                  <a16:creationId xmlns:a16="http://schemas.microsoft.com/office/drawing/2014/main" id="{7D50DB3C-9140-4121-9E8E-86C716D28175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17537BB5-A224-4959-ACA8-6BA87804C484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B33A121E-20AC-481C-8957-C767575C84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C7A823EC-834B-4934-9A45-0A17848228B1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9" name="Flussdiagramm: Daten 1">
              <a:extLst>
                <a:ext uri="{FF2B5EF4-FFF2-40B4-BE49-F238E27FC236}">
                  <a16:creationId xmlns:a16="http://schemas.microsoft.com/office/drawing/2014/main" id="{320B27D0-4AAD-4D59-9A9F-7C92F030A355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E8F71759-DDD5-49AA-9D05-B03557AA5817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91F66BD1-06F4-46AB-8C60-B2D1E3CB62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9950889-CF20-415C-9959-676BB8D0781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BA0AB83-23F0-42B1-9785-1BA435FF96BE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F298D66-02FA-40A4-8054-5CB4F27BC8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5383D31-45DD-47FD-BA8A-2FA1B765849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6009325"/>
      </p:ext>
    </p:extLst>
  </p:cSld>
  <p:clrMapOvr>
    <a:masterClrMapping/>
  </p:clrMapOvr>
  <p:transition spd="slow" advClick="0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 Untertitel Inhalt 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324001"/>
            <a:ext cx="8568000" cy="648000"/>
          </a:xfrm>
        </p:spPr>
        <p:txBody>
          <a:bodyPr>
            <a:normAutofit/>
          </a:bodyPr>
          <a:lstStyle>
            <a:lvl1pPr marL="0" indent="-423900">
              <a:spcBef>
                <a:spcPts val="900"/>
              </a:spcBef>
              <a:defRPr sz="2000" baseline="0">
                <a:solidFill>
                  <a:srgbClr val="27A95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324000" y="249493"/>
            <a:ext cx="8568000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 flipV="1">
            <a:off x="324000" y="4860000"/>
            <a:ext cx="8568000" cy="448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type="body" idx="10"/>
          </p:nvPr>
        </p:nvSpPr>
        <p:spPr>
          <a:xfrm>
            <a:off x="324000" y="1059657"/>
            <a:ext cx="8568000" cy="35996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4000" y="4600237"/>
            <a:ext cx="4248000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4600237"/>
            <a:ext cx="4248562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de-DE" dirty="0"/>
              <a:t>Notizen: </a:t>
            </a:r>
          </a:p>
        </p:txBody>
      </p:sp>
      <p:sp>
        <p:nvSpPr>
          <p:cNvPr id="24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4C6016ED-DB4B-4DEB-9ED0-28FA5B2C3F2E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507278"/>
            <a:ext cx="8568001" cy="309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+mn-lt"/>
                <a:sym typeface="Source Sans Pro" panose="020B0503030403020204" pitchFamily="34" charset="0"/>
              </a:defRPr>
            </a:lvl1pPr>
            <a:lvl2pPr marL="360363" indent="-180975">
              <a:lnSpc>
                <a:spcPct val="100000"/>
              </a:lnSpc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+mn-lt"/>
                <a:sym typeface="Source Sans Pro" panose="020B0503030403020204" pitchFamily="34" charset="0"/>
              </a:defRPr>
            </a:lvl3pPr>
            <a:lvl4pPr marL="719138" indent="-179388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+mn-lt"/>
                <a:sym typeface="Source Sans Pro" panose="020B0503030403020204" pitchFamily="34" charset="0"/>
              </a:defRPr>
            </a:lvl4pPr>
            <a:lvl5pPr marL="712788" indent="-169863">
              <a:lnSpc>
                <a:spcPct val="100000"/>
              </a:lnSpc>
              <a:buFont typeface="Arial" panose="020B0604020202020204" pitchFamily="34" charset="0"/>
              <a:buChar char="•"/>
              <a:defRPr sz="16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5pPr>
            <a:lvl6pPr marL="1714500" indent="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79322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_Success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6816534" y="3176"/>
            <a:ext cx="2326031" cy="4857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latin typeface="+mn-lt"/>
            </a:endParaRPr>
          </a:p>
        </p:txBody>
      </p:sp>
      <p:sp>
        <p:nvSpPr>
          <p:cNvPr id="42" name="Rechteck 41"/>
          <p:cNvSpPr/>
          <p:nvPr userDrawn="1"/>
        </p:nvSpPr>
        <p:spPr>
          <a:xfrm>
            <a:off x="0" y="4858684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chemeClr val="bg1"/>
              </a:solidFill>
              <a:latin typeface="Source Sans Pro" charset="0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2492131" y="1357533"/>
            <a:ext cx="2000579" cy="323775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6821711" y="0"/>
            <a:ext cx="2322289" cy="10604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4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F6CABB7D-BFA8-4815-8A26-5E835D99503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idx="23" hasCustomPrompt="1"/>
          </p:nvPr>
        </p:nvSpPr>
        <p:spPr>
          <a:xfrm>
            <a:off x="4651998" y="1357534"/>
            <a:ext cx="2007261" cy="3237755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2490414" y="1072282"/>
            <a:ext cx="2079207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chemeClr val="bg2"/>
                </a:solidFill>
                <a:latin typeface="+mj-lt"/>
              </a:rPr>
              <a:t>Vorgehensweise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4649984" y="1076272"/>
            <a:ext cx="2082604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chemeClr val="bg2"/>
                </a:solidFill>
                <a:latin typeface="+mj-lt"/>
              </a:rPr>
              <a:t>Funktionen/Projektergebnis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6408588" cy="303171"/>
          </a:xfrm>
          <a:noFill/>
        </p:spPr>
        <p:txBody>
          <a:bodyPr>
            <a:normAutofit/>
          </a:bodyPr>
          <a:lstStyle>
            <a:lvl1pPr>
              <a:defRPr sz="20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30" name="Gerade Verbindung 17"/>
          <p:cNvCxnSpPr/>
          <p:nvPr userDrawn="1"/>
        </p:nvCxnSpPr>
        <p:spPr>
          <a:xfrm>
            <a:off x="324000" y="249493"/>
            <a:ext cx="6408588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2"/>
          <p:cNvSpPr>
            <a:spLocks noGrp="1"/>
          </p:cNvSpPr>
          <p:nvPr>
            <p:ph idx="29" hasCustomPrompt="1"/>
          </p:nvPr>
        </p:nvSpPr>
        <p:spPr>
          <a:xfrm>
            <a:off x="324000" y="1357533"/>
            <a:ext cx="2009140" cy="323775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322283" y="1072282"/>
            <a:ext cx="2079207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chemeClr val="bg2"/>
                </a:solidFill>
                <a:latin typeface="+mj-lt"/>
              </a:rPr>
              <a:t>Ausgangsbasis</a:t>
            </a:r>
          </a:p>
        </p:txBody>
      </p:sp>
      <p:sp>
        <p:nvSpPr>
          <p:cNvPr id="38" name="Inhaltsplatzhalter 2"/>
          <p:cNvSpPr>
            <a:spLocks noGrp="1"/>
          </p:cNvSpPr>
          <p:nvPr>
            <p:ph idx="30" hasCustomPrompt="1"/>
          </p:nvPr>
        </p:nvSpPr>
        <p:spPr>
          <a:xfrm>
            <a:off x="6916715" y="1357534"/>
            <a:ext cx="2068576" cy="34287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6916715" y="1076272"/>
            <a:ext cx="1327693" cy="285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latin typeface="+mj-lt"/>
              </a:rPr>
              <a:t>Kundennutzen</a:t>
            </a:r>
          </a:p>
        </p:txBody>
      </p:sp>
      <p:sp>
        <p:nvSpPr>
          <p:cNvPr id="40" name="Textplatzhalter 2"/>
          <p:cNvSpPr>
            <a:spLocks noGrp="1"/>
          </p:cNvSpPr>
          <p:nvPr>
            <p:ph type="body" idx="10"/>
          </p:nvPr>
        </p:nvSpPr>
        <p:spPr>
          <a:xfrm>
            <a:off x="324000" y="634638"/>
            <a:ext cx="6408588" cy="2737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4600237"/>
            <a:ext cx="6335259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de-DE" dirty="0"/>
              <a:t>Quelle: </a:t>
            </a:r>
          </a:p>
        </p:txBody>
      </p:sp>
    </p:spTree>
    <p:extLst>
      <p:ext uri="{BB962C8B-B14F-4D97-AF65-F5344CB8AC3E}">
        <p14:creationId xmlns:p14="http://schemas.microsoft.com/office/powerpoint/2010/main" val="6632054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6816534" y="3176"/>
            <a:ext cx="2326031" cy="4857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2" name="Rechteck 41"/>
          <p:cNvSpPr/>
          <p:nvPr userDrawn="1"/>
        </p:nvSpPr>
        <p:spPr>
          <a:xfrm>
            <a:off x="0" y="4858684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chemeClr val="bg1"/>
              </a:solidFill>
              <a:latin typeface="Source Sans Pro" charset="0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2492131" y="1357533"/>
            <a:ext cx="2000579" cy="323775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5"/>
          </p:nvPr>
        </p:nvSpPr>
        <p:spPr>
          <a:xfrm>
            <a:off x="6815100" y="0"/>
            <a:ext cx="2327466" cy="10604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400" baseline="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8297F82-F165-4AE1-A80A-D34760118ABA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idx="23" hasCustomPrompt="1"/>
          </p:nvPr>
        </p:nvSpPr>
        <p:spPr>
          <a:xfrm>
            <a:off x="4651998" y="1357534"/>
            <a:ext cx="2007261" cy="3237755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6408588" cy="303171"/>
          </a:xfrm>
          <a:noFill/>
        </p:spPr>
        <p:txBody>
          <a:bodyPr>
            <a:normAutofit/>
          </a:bodyPr>
          <a:lstStyle>
            <a:lvl1pPr>
              <a:defRPr sz="20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cxnSp>
        <p:nvCxnSpPr>
          <p:cNvPr id="30" name="Gerade Verbindung 17"/>
          <p:cNvCxnSpPr/>
          <p:nvPr userDrawn="1"/>
        </p:nvCxnSpPr>
        <p:spPr>
          <a:xfrm>
            <a:off x="324000" y="249493"/>
            <a:ext cx="6408588" cy="133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2"/>
          <p:cNvSpPr>
            <a:spLocks noGrp="1"/>
          </p:cNvSpPr>
          <p:nvPr>
            <p:ph idx="29" hasCustomPrompt="1"/>
          </p:nvPr>
        </p:nvSpPr>
        <p:spPr>
          <a:xfrm>
            <a:off x="324000" y="1357533"/>
            <a:ext cx="2009140" cy="3237756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38" name="Inhaltsplatzhalter 2"/>
          <p:cNvSpPr>
            <a:spLocks noGrp="1"/>
          </p:cNvSpPr>
          <p:nvPr>
            <p:ph idx="30" hasCustomPrompt="1"/>
          </p:nvPr>
        </p:nvSpPr>
        <p:spPr>
          <a:xfrm>
            <a:off x="6916715" y="1357534"/>
            <a:ext cx="2068576" cy="34287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40" name="Textplatzhalter 2"/>
          <p:cNvSpPr>
            <a:spLocks noGrp="1"/>
          </p:cNvSpPr>
          <p:nvPr>
            <p:ph type="body" idx="10"/>
          </p:nvPr>
        </p:nvSpPr>
        <p:spPr>
          <a:xfrm>
            <a:off x="324000" y="634638"/>
            <a:ext cx="6408588" cy="2737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200" b="0" i="0" baseline="0">
                <a:solidFill>
                  <a:schemeClr val="bg2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4600237"/>
            <a:ext cx="6335259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de-DE" dirty="0"/>
              <a:t>Quelle: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31" hasCustomPrompt="1"/>
          </p:nvPr>
        </p:nvSpPr>
        <p:spPr>
          <a:xfrm>
            <a:off x="322263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490900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33" hasCustomPrompt="1"/>
          </p:nvPr>
        </p:nvSpPr>
        <p:spPr>
          <a:xfrm>
            <a:off x="4648941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34" hasCustomPrompt="1"/>
          </p:nvPr>
        </p:nvSpPr>
        <p:spPr>
          <a:xfrm>
            <a:off x="6915280" y="1045460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31796071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itchd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5" progId="TCLayout.ActiveDocument.1">
                  <p:embed/>
                </p:oleObj>
              </mc:Choice>
              <mc:Fallback>
                <p:oleObj name="think-cell Folie" r:id="rId3" imgW="352" imgH="35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6816534" y="0"/>
            <a:ext cx="2326031" cy="48604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2" name="Rechteck 41"/>
          <p:cNvSpPr/>
          <p:nvPr userDrawn="1"/>
        </p:nvSpPr>
        <p:spPr>
          <a:xfrm>
            <a:off x="0" y="4858684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chemeClr val="bg1"/>
              </a:solidFill>
              <a:latin typeface="Source Sans Pro" charset="0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2492131" y="1357533"/>
            <a:ext cx="2000579" cy="3422704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A44E38BF-D9B2-47D1-8E6E-8FF242861C1A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idx="23" hasCustomPrompt="1"/>
          </p:nvPr>
        </p:nvSpPr>
        <p:spPr>
          <a:xfrm>
            <a:off x="4651998" y="1357534"/>
            <a:ext cx="2007261" cy="3428779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324000" y="324000"/>
            <a:ext cx="6408588" cy="303171"/>
          </a:xfrm>
          <a:noFill/>
        </p:spPr>
        <p:txBody>
          <a:bodyPr>
            <a:normAutofit/>
          </a:bodyPr>
          <a:lstStyle>
            <a:lvl1pPr>
              <a:defRPr sz="20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8" name="Inhaltsplatzhalter 2"/>
          <p:cNvSpPr>
            <a:spLocks noGrp="1"/>
          </p:cNvSpPr>
          <p:nvPr>
            <p:ph idx="30" hasCustomPrompt="1"/>
          </p:nvPr>
        </p:nvSpPr>
        <p:spPr>
          <a:xfrm>
            <a:off x="6916715" y="1357534"/>
            <a:ext cx="2068576" cy="34287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40" name="Textplatzhalter 2"/>
          <p:cNvSpPr>
            <a:spLocks noGrp="1"/>
          </p:cNvSpPr>
          <p:nvPr>
            <p:ph type="body" idx="10"/>
          </p:nvPr>
        </p:nvSpPr>
        <p:spPr>
          <a:xfrm>
            <a:off x="324000" y="634638"/>
            <a:ext cx="6408588" cy="2737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lang="de-DE" sz="1200" b="0" i="0" kern="1200" baseline="0" dirty="0">
                <a:solidFill>
                  <a:schemeClr val="tx1"/>
                </a:solidFill>
                <a:latin typeface="Roboto Slab Regular" charset="0"/>
                <a:ea typeface="Roboto Slab" charset="0"/>
                <a:cs typeface="Roboto Slab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34" hasCustomPrompt="1"/>
          </p:nvPr>
        </p:nvSpPr>
        <p:spPr>
          <a:xfrm>
            <a:off x="4647897" y="1043648"/>
            <a:ext cx="2011362" cy="2621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Tx/>
              <a:buNone/>
              <a:defRPr sz="1200">
                <a:solidFill>
                  <a:srgbClr val="009932"/>
                </a:solidFill>
                <a:latin typeface="+mj-lt"/>
              </a:defRPr>
            </a:lvl1pPr>
            <a:lvl2pPr marL="0" indent="0">
              <a:buFontTx/>
              <a:buNone/>
              <a:defRPr sz="1200">
                <a:latin typeface="+mj-lt"/>
              </a:defRPr>
            </a:lvl2pPr>
            <a:lvl3pPr marL="98550" indent="0">
              <a:buFontTx/>
              <a:buNone/>
              <a:defRPr sz="1200">
                <a:latin typeface="+mj-lt"/>
              </a:defRPr>
            </a:lvl3pPr>
            <a:lvl4pPr marL="233550" indent="0">
              <a:buFontTx/>
              <a:buNone/>
              <a:defRPr sz="1200">
                <a:latin typeface="+mj-lt"/>
              </a:defRPr>
            </a:lvl4pPr>
            <a:lvl5pPr marL="638550" indent="0">
              <a:buFontTx/>
              <a:buNone/>
              <a:defRPr sz="1200">
                <a:latin typeface="+mj-lt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pic>
        <p:nvPicPr>
          <p:cNvPr id="6" name="Bildplatzhalter 33" descr="Ein Bild, das Logo, Grafiken, Schwarzweiß, Symbol enthält.&#10;&#10;Automatisch generierte Beschreibung">
            <a:extLst>
              <a:ext uri="{FF2B5EF4-FFF2-40B4-BE49-F238E27FC236}">
                <a16:creationId xmlns:a16="http://schemas.microsoft.com/office/drawing/2014/main" id="{B34A66A0-7D7C-0B27-E6C0-44795B00EC5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2226" r="2226"/>
          <a:stretch>
            <a:fillRect/>
          </a:stretch>
        </p:blipFill>
        <p:spPr>
          <a:xfrm>
            <a:off x="7536616" y="193881"/>
            <a:ext cx="801845" cy="731507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5D7173-9D88-6BCB-F6B7-96E3468E1941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4881" y="1045459"/>
            <a:ext cx="2372960" cy="3808277"/>
          </a:xfrm>
          <a:prstGeom prst="rect">
            <a:avLst/>
          </a:prstGeom>
        </p:spPr>
        <p:txBody>
          <a:bodyPr lIns="0" tIns="0" rIns="72000" bIns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135000" indent="-171450">
              <a:buFont typeface="Arial" panose="020B0604020202020204" pitchFamily="34" charset="0"/>
              <a:buChar char="•"/>
              <a:defRPr sz="1400"/>
            </a:lvl2pPr>
            <a:lvl3pPr marL="361950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3pPr>
            <a:lvl4pPr marL="542925" indent="-180975">
              <a:buFont typeface="Arial" panose="020B0604020202020204" pitchFamily="34" charset="0"/>
              <a:buChar char="•"/>
              <a:defRPr sz="1100">
                <a:latin typeface="Source Sans Pro" panose="020B0503030403020204" pitchFamily="34" charset="0"/>
                <a:sym typeface="Source Sans Pro" panose="020B0503030403020204" pitchFamily="34" charset="0"/>
              </a:defRPr>
            </a:lvl4pPr>
            <a:lvl5pPr marL="810000" indent="-171450">
              <a:lnSpc>
                <a:spcPct val="100000"/>
              </a:lnSpc>
              <a:buFont typeface="Arial" panose="020B0604020202020204" pitchFamily="34" charset="0"/>
              <a:buChar char="•"/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Bild einfüg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C97E9B4-D004-DF69-6F59-0F68F57AA213}"/>
              </a:ext>
            </a:extLst>
          </p:cNvPr>
          <p:cNvSpPr txBox="1"/>
          <p:nvPr userDrawn="1"/>
        </p:nvSpPr>
        <p:spPr>
          <a:xfrm>
            <a:off x="2404809" y="1049082"/>
            <a:ext cx="2000579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</a:pPr>
            <a:r>
              <a:rPr lang="de-DE" sz="1200" kern="1200" baseline="0" dirty="0">
                <a:solidFill>
                  <a:schemeClr val="bg2"/>
                </a:solidFill>
                <a:latin typeface="+mj-lt"/>
                <a:sym typeface="Source Sans Pro" panose="020B0503030403020204" pitchFamily="34" charset="0"/>
              </a:rPr>
              <a:t>Ihre </a:t>
            </a:r>
            <a:r>
              <a:rPr lang="de-DE" sz="1200" kern="1200" baseline="0" dirty="0">
                <a:solidFill>
                  <a:schemeClr val="bg2"/>
                </a:solidFill>
                <a:latin typeface="+mj-lt"/>
              </a:rPr>
              <a:t>Herausforderung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BA1DC5A-19CC-081E-5F93-0C6A6B5BA676}"/>
              </a:ext>
            </a:extLst>
          </p:cNvPr>
          <p:cNvSpPr txBox="1"/>
          <p:nvPr userDrawn="1"/>
        </p:nvSpPr>
        <p:spPr>
          <a:xfrm>
            <a:off x="6843502" y="1045459"/>
            <a:ext cx="2000579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</a:pPr>
            <a:r>
              <a:rPr lang="de-DE" sz="1200" kern="1200" baseline="0" dirty="0">
                <a:solidFill>
                  <a:schemeClr val="bg1"/>
                </a:solidFill>
                <a:latin typeface="+mj-lt"/>
                <a:sym typeface="Source Sans Pro" panose="020B0503030403020204" pitchFamily="34" charset="0"/>
              </a:rPr>
              <a:t>Ihr Nutzen</a:t>
            </a:r>
            <a:endParaRPr lang="de-DE" sz="1200" kern="1200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A2241EA-9954-4975-962B-C09023E8CEF2}"/>
              </a:ext>
            </a:extLst>
          </p:cNvPr>
          <p:cNvSpPr txBox="1"/>
          <p:nvPr userDrawn="1"/>
        </p:nvSpPr>
        <p:spPr>
          <a:xfrm>
            <a:off x="250825" y="110409"/>
            <a:ext cx="1696010" cy="2031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/>
              <a:buNone/>
            </a:pPr>
            <a:r>
              <a:rPr lang="de-DE" sz="800" kern="1200" spc="300" baseline="0" dirty="0">
                <a:solidFill>
                  <a:schemeClr val="tx1"/>
                </a:solidFill>
                <a:latin typeface="+mj-lt"/>
              </a:rPr>
              <a:t>UNSER ANGEBOT</a:t>
            </a:r>
          </a:p>
        </p:txBody>
      </p:sp>
    </p:spTree>
    <p:extLst>
      <p:ext uri="{BB962C8B-B14F-4D97-AF65-F5344CB8AC3E}">
        <p14:creationId xmlns:p14="http://schemas.microsoft.com/office/powerpoint/2010/main" val="16961652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35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3203575" y="1064616"/>
            <a:ext cx="4968000" cy="1260000"/>
          </a:xfrm>
          <a:noFill/>
        </p:spPr>
        <p:txBody>
          <a:bodyPr vert="horz" anchor="t">
            <a:noAutofit/>
          </a:bodyPr>
          <a:lstStyle>
            <a:lvl1pPr algn="l">
              <a:defRPr sz="28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3203574" y="2355726"/>
            <a:ext cx="4968875" cy="14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ECAC137D-DFD2-4D70-96F8-850B5E6C1F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8A5A7818-2A45-420B-98E9-5D62EC584CBE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1" name="Flussdiagramm: Daten 1">
              <a:extLst>
                <a:ext uri="{FF2B5EF4-FFF2-40B4-BE49-F238E27FC236}">
                  <a16:creationId xmlns:a16="http://schemas.microsoft.com/office/drawing/2014/main" id="{506CFA63-5DCA-45C7-B6F9-71ADCA3D38CC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5F69FD9-3722-444A-AE56-68358BB7CDA2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EC0DE9B3-06C8-42D5-A09D-2DDA7FDD8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1B2E67D0-D6D5-437E-B7E5-D652DAEB9C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EA6A43D-2806-4C21-A53B-9CF8C3DAA3F9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9" name="Flussdiagramm: Daten 1">
              <a:extLst>
                <a:ext uri="{FF2B5EF4-FFF2-40B4-BE49-F238E27FC236}">
                  <a16:creationId xmlns:a16="http://schemas.microsoft.com/office/drawing/2014/main" id="{E245E7DA-9836-4177-A61D-C673AF672350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DA0FA542-79B1-4CE9-971B-DE6FE4850472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0FBDE65E-194D-43F4-96A6-9C75E124EA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848D615-36F2-46F1-ACE8-6629BEE54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74CD8-E8FF-4DF5-A628-658D63E6D89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1D036D-3721-4D42-B87C-2714C78FB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D4EF54A-D385-4C72-A2A3-872F7866A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3905"/>
      </p:ext>
    </p:extLst>
  </p:cSld>
  <p:clrMapOvr>
    <a:masterClrMapping/>
  </p:clrMapOvr>
  <p:transition spd="slow" advClick="0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Kapiteltrenn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0087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064855E4-8B9C-4931-8CD6-2731C0346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21001" r="511"/>
          <a:stretch/>
        </p:blipFill>
        <p:spPr>
          <a:xfrm>
            <a:off x="1354" y="1003911"/>
            <a:ext cx="9142645" cy="3850359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98D5C6C6-E37B-40B3-88EA-5734190BC5D8}"/>
              </a:ext>
            </a:extLst>
          </p:cNvPr>
          <p:cNvSpPr/>
          <p:nvPr/>
        </p:nvSpPr>
        <p:spPr>
          <a:xfrm>
            <a:off x="7898860" y="0"/>
            <a:ext cx="1254327" cy="1018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itel 1"/>
          <p:cNvSpPr>
            <a:spLocks noGrp="1"/>
          </p:cNvSpPr>
          <p:nvPr>
            <p:ph type="ctrTitle"/>
          </p:nvPr>
        </p:nvSpPr>
        <p:spPr>
          <a:xfrm>
            <a:off x="3203575" y="1064616"/>
            <a:ext cx="4968000" cy="1260000"/>
          </a:xfrm>
          <a:noFill/>
        </p:spPr>
        <p:txBody>
          <a:bodyPr vert="horz" anchor="t">
            <a:noAutofit/>
          </a:bodyPr>
          <a:lstStyle>
            <a:lvl1pPr algn="l">
              <a:defRPr sz="2800" baseline="0">
                <a:solidFill>
                  <a:srgbClr val="009A3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/>
          </p:nvPr>
        </p:nvSpPr>
        <p:spPr>
          <a:xfrm>
            <a:off x="3203574" y="2355726"/>
            <a:ext cx="4968875" cy="14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Source Sans Pro" panose="020B0503030403020204" pitchFamily="34" charset="0"/>
                <a:sym typeface="Source Sans Pro" panose="020B0503030403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4FE4BCC-8FB7-413A-919F-C6E1AB37726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A5044DE-7BD8-400B-81EF-4A22DFD6A821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0" name="Flussdiagramm: Daten 1">
              <a:extLst>
                <a:ext uri="{FF2B5EF4-FFF2-40B4-BE49-F238E27FC236}">
                  <a16:creationId xmlns:a16="http://schemas.microsoft.com/office/drawing/2014/main" id="{830CE8D8-528A-458D-9B9B-F5229F310526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81FAEDAD-3BB3-4045-9A9F-C111AA6E9185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19BC3621-774A-4486-9070-5D0EB9F63C7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20460B9-2CBF-4E53-B5BA-C550CFB860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27EB1A-83E9-42D2-82E1-6C841C1F28D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F59AAA-11E4-4ECE-88C1-0C2085A04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19984C-07EA-43A6-873D-D74603A0C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02E11A9-74E8-428A-B8ED-880D59AC1690}"/>
              </a:ext>
            </a:extLst>
          </p:cNvPr>
          <p:cNvSpPr/>
          <p:nvPr userDrawn="1"/>
        </p:nvSpPr>
        <p:spPr>
          <a:xfrm>
            <a:off x="7898860" y="0"/>
            <a:ext cx="1254327" cy="1018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0F335DCB-BB36-404E-B7B8-165800494A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9E8524A-A155-4761-8411-A1B4EE084B45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7" name="Flussdiagramm: Daten 1">
              <a:extLst>
                <a:ext uri="{FF2B5EF4-FFF2-40B4-BE49-F238E27FC236}">
                  <a16:creationId xmlns:a16="http://schemas.microsoft.com/office/drawing/2014/main" id="{771FEFF7-4C97-4F30-9D11-29CC64A2276C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FDF3A2DA-B349-4E04-AAAE-92978CEF711F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36BE2785-11A1-4B6F-9090-81275DBAE3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9105439"/>
      </p:ext>
    </p:extLst>
  </p:cSld>
  <p:clrMapOvr>
    <a:masterClrMapping/>
  </p:clrMapOvr>
  <p:transition spd="slow" advClick="0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59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5" progId="TCLayout.ActiveDocument.1">
                  <p:embed/>
                </p:oleObj>
              </mc:Choice>
              <mc:Fallback>
                <p:oleObj name="think-cell Folie" r:id="rId5" imgW="352" imgH="35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>
            <a:extLst>
              <a:ext uri="{FF2B5EF4-FFF2-40B4-BE49-F238E27FC236}">
                <a16:creationId xmlns:a16="http://schemas.microsoft.com/office/drawing/2014/main" id="{D7C02065-0FF8-4BD2-A11E-682576EB3B4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175" y="0"/>
            <a:ext cx="9137650" cy="4860448"/>
          </a:xfrm>
          <a:prstGeom prst="rect">
            <a:avLst/>
          </a:prstGeom>
        </p:spPr>
      </p:pic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5DAC0347-9934-4B01-8E03-74D64EC506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5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5F33C9A-6E7E-4EBD-BF81-012EE5EDE2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5" y="0"/>
            <a:ext cx="9137650" cy="514145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0" y="1080000"/>
            <a:ext cx="5346947" cy="2139553"/>
          </a:xfrm>
          <a:noFill/>
        </p:spPr>
        <p:txBody>
          <a:bodyPr vert="horz" anchor="t"/>
          <a:lstStyle>
            <a:lvl1pPr>
              <a:defRPr sz="450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3FC5DBC-E966-4C4A-BD4B-861B0185E10B}"/>
              </a:ext>
            </a:extLst>
          </p:cNvPr>
          <p:cNvSpPr/>
          <p:nvPr/>
        </p:nvSpPr>
        <p:spPr>
          <a:xfrm>
            <a:off x="7898860" y="3176"/>
            <a:ext cx="1241965" cy="1014986"/>
          </a:xfrm>
          <a:prstGeom prst="rect">
            <a:avLst/>
          </a:prstGeom>
          <a:solidFill>
            <a:srgbClr val="018E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457143A-2D71-4A90-AD1D-71E2E3329E8F}"/>
              </a:ext>
            </a:extLst>
          </p:cNvPr>
          <p:cNvGrpSpPr/>
          <p:nvPr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12" name="Flussdiagramm: Daten 1">
              <a:extLst>
                <a:ext uri="{FF2B5EF4-FFF2-40B4-BE49-F238E27FC236}">
                  <a16:creationId xmlns:a16="http://schemas.microsoft.com/office/drawing/2014/main" id="{12FB585F-A45C-4CBD-A83B-43863441508D}"/>
                </a:ext>
              </a:extLst>
            </p:cNvPr>
            <p:cNvSpPr/>
            <p:nvPr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55467CAF-5EF0-4734-A6F1-DAAB56D1A79D}"/>
                </a:ext>
              </a:extLst>
            </p:cNvPr>
            <p:cNvSpPr txBox="1"/>
            <p:nvPr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03EEAE4-6D63-45D3-AE4E-3A621A800D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7" name="Rechteck 6"/>
          <p:cNvSpPr/>
          <p:nvPr/>
        </p:nvSpPr>
        <p:spPr>
          <a:xfrm>
            <a:off x="0" y="4858684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E1493F87-7A7E-4265-B0A0-0F8D29D3C7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5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15C30CFB-5982-47B6-8C28-EA8640257E3C}"/>
              </a:ext>
            </a:extLst>
          </p:cNvPr>
          <p:cNvSpPr/>
          <p:nvPr userDrawn="1"/>
        </p:nvSpPr>
        <p:spPr>
          <a:xfrm>
            <a:off x="7898860" y="3176"/>
            <a:ext cx="1241965" cy="1014986"/>
          </a:xfrm>
          <a:prstGeom prst="rect">
            <a:avLst/>
          </a:prstGeom>
          <a:solidFill>
            <a:srgbClr val="018E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55428EC-73A4-45F7-A43E-FACFAF68BC61}"/>
              </a:ext>
            </a:extLst>
          </p:cNvPr>
          <p:cNvGrpSpPr/>
          <p:nvPr userDrawn="1"/>
        </p:nvGrpSpPr>
        <p:grpSpPr>
          <a:xfrm>
            <a:off x="8568301" y="0"/>
            <a:ext cx="584886" cy="574343"/>
            <a:chOff x="8605022" y="-1317"/>
            <a:chExt cx="542089" cy="481815"/>
          </a:xfrm>
        </p:grpSpPr>
        <p:sp>
          <p:nvSpPr>
            <p:cNvPr id="22" name="Flussdiagramm: Daten 1">
              <a:extLst>
                <a:ext uri="{FF2B5EF4-FFF2-40B4-BE49-F238E27FC236}">
                  <a16:creationId xmlns:a16="http://schemas.microsoft.com/office/drawing/2014/main" id="{8E53F43F-D1D8-43FC-BA90-6DF3870CBBB3}"/>
                </a:ext>
              </a:extLst>
            </p:cNvPr>
            <p:cNvSpPr/>
            <p:nvPr userDrawn="1"/>
          </p:nvSpPr>
          <p:spPr>
            <a:xfrm flipV="1">
              <a:off x="8605022" y="-1317"/>
              <a:ext cx="538863" cy="48181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885 w 10000"/>
                <a:gd name="connsiteY3" fmla="*/ 10000 h 10000"/>
                <a:gd name="connsiteX4" fmla="*/ 0 w 10000"/>
                <a:gd name="connsiteY4" fmla="*/ 10000 h 10000"/>
                <a:gd name="connsiteX0" fmla="*/ 0 w 10051"/>
                <a:gd name="connsiteY0" fmla="*/ 10000 h 10000"/>
                <a:gd name="connsiteX1" fmla="*/ 2000 w 10051"/>
                <a:gd name="connsiteY1" fmla="*/ 0 h 10000"/>
                <a:gd name="connsiteX2" fmla="*/ 10000 w 10051"/>
                <a:gd name="connsiteY2" fmla="*/ 0 h 10000"/>
                <a:gd name="connsiteX3" fmla="*/ 10044 w 10051"/>
                <a:gd name="connsiteY3" fmla="*/ 10000 h 10000"/>
                <a:gd name="connsiteX4" fmla="*/ 0 w 10051"/>
                <a:gd name="connsiteY4" fmla="*/ 10000 h 10000"/>
                <a:gd name="connsiteX0" fmla="*/ 0 w 9318"/>
                <a:gd name="connsiteY0" fmla="*/ 10000 h 10000"/>
                <a:gd name="connsiteX1" fmla="*/ 1267 w 9318"/>
                <a:gd name="connsiteY1" fmla="*/ 0 h 10000"/>
                <a:gd name="connsiteX2" fmla="*/ 9267 w 9318"/>
                <a:gd name="connsiteY2" fmla="*/ 0 h 10000"/>
                <a:gd name="connsiteX3" fmla="*/ 9311 w 9318"/>
                <a:gd name="connsiteY3" fmla="*/ 10000 h 10000"/>
                <a:gd name="connsiteX4" fmla="*/ 0 w 9318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8" h="10000">
                  <a:moveTo>
                    <a:pt x="0" y="10000"/>
                  </a:moveTo>
                  <a:lnTo>
                    <a:pt x="1267" y="0"/>
                  </a:lnTo>
                  <a:lnTo>
                    <a:pt x="9267" y="0"/>
                  </a:lnTo>
                  <a:cubicBezTo>
                    <a:pt x="9229" y="3333"/>
                    <a:pt x="9349" y="6667"/>
                    <a:pt x="9311" y="10000"/>
                  </a:cubicBezTo>
                  <a:lnTo>
                    <a:pt x="0" y="10000"/>
                  </a:lnTo>
                  <a:close/>
                </a:path>
              </a:pathLst>
            </a:custGeom>
            <a:solidFill>
              <a:srgbClr val="009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D0A47512-9BC6-4640-90E2-EA4F45725D42}"/>
                </a:ext>
              </a:extLst>
            </p:cNvPr>
            <p:cNvSpPr txBox="1"/>
            <p:nvPr userDrawn="1"/>
          </p:nvSpPr>
          <p:spPr>
            <a:xfrm>
              <a:off x="8651531" y="246364"/>
              <a:ext cx="495580" cy="180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Passion </a:t>
              </a:r>
            </a:p>
            <a:p>
              <a:pPr algn="ctr"/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for</a:t>
              </a:r>
              <a:r>
                <a:rPr lang="de-DE" sz="700" dirty="0">
                  <a:solidFill>
                    <a:srgbClr val="FFFEFF"/>
                  </a:solidFill>
                  <a:latin typeface="+mj-lt"/>
                </a:rPr>
                <a:t> </a:t>
              </a:r>
              <a:r>
                <a:rPr lang="de-DE" sz="700" dirty="0" err="1">
                  <a:solidFill>
                    <a:srgbClr val="FFFEFF"/>
                  </a:solidFill>
                  <a:latin typeface="+mj-lt"/>
                </a:rPr>
                <a:t>data</a:t>
              </a:r>
              <a:endParaRPr lang="de-DE" sz="700" dirty="0">
                <a:solidFill>
                  <a:srgbClr val="FFFEFF"/>
                </a:solidFill>
                <a:latin typeface="+mj-lt"/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F7BA1703-849F-4D78-B7E5-851E3BACB3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7375" y="53419"/>
              <a:ext cx="183358" cy="159826"/>
            </a:xfrm>
            <a:prstGeom prst="rect">
              <a:avLst/>
            </a:prstGeom>
          </p:spPr>
        </p:pic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13A531-69BA-45A4-BD80-5F2D70FF1B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347A0-F9F8-4088-B87C-1C33BEB15B9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0ACEF2-450E-48F3-AAEA-57F6A3710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F2E119D-6E21-4659-A2B7-D763AE4BF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2565583"/>
      </p:ext>
    </p:extLst>
  </p:cSld>
  <p:clrMapOvr>
    <a:masterClrMapping/>
  </p:clrMapOvr>
  <p:transition spd="slow" advClick="0"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4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1509404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8" imgW="465" imgH="457" progId="TCLayout.ActiveDocument.1">
                  <p:embed/>
                </p:oleObj>
              </mc:Choice>
              <mc:Fallback>
                <p:oleObj name="think-cell Folie" r:id="rId68" imgW="465" imgH="457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23850" y="250825"/>
            <a:ext cx="8569326" cy="79200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2D1D9C38-3496-438B-9300-965C1B3E96AF}"/>
              </a:ext>
            </a:extLst>
          </p:cNvPr>
          <p:cNvSpPr/>
          <p:nvPr>
            <p:custDataLst>
              <p:tags r:id="rId6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39A9246-6D93-E147-A877-43024E22C246}"/>
              </a:ext>
            </a:extLst>
          </p:cNvPr>
          <p:cNvSpPr/>
          <p:nvPr userDrawn="1"/>
        </p:nvSpPr>
        <p:spPr>
          <a:xfrm>
            <a:off x="0" y="4860000"/>
            <a:ext cx="9144000" cy="284816"/>
          </a:xfrm>
          <a:prstGeom prst="rect">
            <a:avLst/>
          </a:prstGeom>
          <a:solidFill>
            <a:srgbClr val="20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>
              <a:solidFill>
                <a:srgbClr val="FFFEFF"/>
              </a:solidFill>
              <a:latin typeface="Source Sans Pro" charset="0"/>
            </a:endParaRP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C9F8E9B3-B038-1142-A77B-2CF4421844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0825" y="4860448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FFFEFF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43A4F3F0-9958-454E-BE3B-6F053E21F47F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7362C648-8C8D-024D-8CBF-870270EDF0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1551" y="4860448"/>
            <a:ext cx="558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rgbClr val="FFFEFF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F4BA6244-C722-DD4C-9E7C-FD6885B826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44408" y="4860448"/>
            <a:ext cx="720079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rgbClr val="FFFEFF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20701BC5-B25A-9846-8C4A-A8E343C522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41D3A9C-32C9-4055-BD30-C7DCE6DA1EC7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Roboto Slab Regular" pitchFamily="2" charset="0"/>
              <a:ea typeface="Roboto Slab Light" pitchFamily="2" charset="0"/>
              <a:sym typeface="Roboto Slab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9186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5" r:id="rId28"/>
    <p:sldLayoutId id="2147483994" r:id="rId29"/>
    <p:sldLayoutId id="2147483996" r:id="rId30"/>
    <p:sldLayoutId id="2147483997" r:id="rId31"/>
    <p:sldLayoutId id="2147483998" r:id="rId32"/>
    <p:sldLayoutId id="2147483999" r:id="rId33"/>
    <p:sldLayoutId id="2147484000" r:id="rId34"/>
    <p:sldLayoutId id="2147484001" r:id="rId35"/>
    <p:sldLayoutId id="2147484002" r:id="rId36"/>
    <p:sldLayoutId id="2147484003" r:id="rId37"/>
    <p:sldLayoutId id="2147484004" r:id="rId38"/>
    <p:sldLayoutId id="2147484005" r:id="rId39"/>
    <p:sldLayoutId id="2147484006" r:id="rId40"/>
    <p:sldLayoutId id="2147484007" r:id="rId41"/>
    <p:sldLayoutId id="2147484008" r:id="rId42"/>
    <p:sldLayoutId id="2147484009" r:id="rId43"/>
    <p:sldLayoutId id="2147484010" r:id="rId44"/>
    <p:sldLayoutId id="2147484011" r:id="rId45"/>
    <p:sldLayoutId id="2147484012" r:id="rId46"/>
    <p:sldLayoutId id="2147484013" r:id="rId47"/>
    <p:sldLayoutId id="2147484014" r:id="rId48"/>
    <p:sldLayoutId id="2147484015" r:id="rId49"/>
    <p:sldLayoutId id="2147484017" r:id="rId50"/>
    <p:sldLayoutId id="2147484018" r:id="rId51"/>
    <p:sldLayoutId id="2147484019" r:id="rId52"/>
    <p:sldLayoutId id="2147484020" r:id="rId53"/>
    <p:sldLayoutId id="2147484021" r:id="rId54"/>
    <p:sldLayoutId id="2147484022" r:id="rId55"/>
    <p:sldLayoutId id="2147484023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</p:sldLayoutIdLst>
  <p:transition spd="slow" advClick="0">
    <p:fade/>
  </p:transition>
  <p:hf hdr="0"/>
  <p:txStyles>
    <p:titleStyle>
      <a:lvl1pPr indent="0" algn="l" defTabSz="685800" rtl="0" eaLnBrk="1" latinLnBrk="0" hangingPunct="1">
        <a:lnSpc>
          <a:spcPct val="100000"/>
        </a:lnSpc>
        <a:spcBef>
          <a:spcPct val="0"/>
        </a:spcBef>
        <a:buNone/>
        <a:defRPr sz="2000" kern="1200" baseline="0">
          <a:solidFill>
            <a:srgbClr val="009A32"/>
          </a:solidFill>
          <a:latin typeface="Roboto Slab Regular" charset="0"/>
          <a:ea typeface="Roboto Slab Light" charset="0"/>
          <a:cs typeface="Roboto Slab Light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1350" kern="1200" baseline="0">
          <a:solidFill>
            <a:schemeClr val="tx1"/>
          </a:solidFill>
          <a:latin typeface="Source Sans Pro regular" charset="0"/>
          <a:ea typeface="Source Sans Pro Light" charset="0"/>
          <a:cs typeface="Source Sans Pro Light" charset="0"/>
        </a:defRPr>
      </a:lvl1pPr>
      <a:lvl2pPr marL="135000" indent="-171450" algn="l" defTabSz="685800" rtl="0" eaLnBrk="1" latinLnBrk="0" hangingPunct="1">
        <a:lnSpc>
          <a:spcPct val="90000"/>
        </a:lnSpc>
        <a:spcBef>
          <a:spcPts val="375"/>
        </a:spcBef>
        <a:buFont typeface="Symbol" charset="2"/>
        <a:buChar char="-"/>
        <a:defRPr sz="1350" kern="1200" baseline="0">
          <a:solidFill>
            <a:schemeClr val="tx1"/>
          </a:solidFill>
          <a:latin typeface="Source Sans Pro regular" charset="0"/>
          <a:ea typeface="Source Sans Pro Light" charset="0"/>
          <a:cs typeface="Source Sans Pro Light" charset="0"/>
        </a:defRPr>
      </a:lvl2pPr>
      <a:lvl3pPr marL="27000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 baseline="0">
          <a:solidFill>
            <a:schemeClr val="tx1"/>
          </a:solidFill>
          <a:latin typeface="Source Sans Pro regular" charset="0"/>
          <a:ea typeface="Source Sans Pro Light" charset="0"/>
          <a:cs typeface="Source Sans Pro Light" charset="0"/>
        </a:defRPr>
      </a:lvl3pPr>
      <a:lvl4pPr marL="405000" indent="-171450" algn="l" defTabSz="685800" rtl="0" eaLnBrk="1" latinLnBrk="0" hangingPunct="1">
        <a:lnSpc>
          <a:spcPct val="90000"/>
        </a:lnSpc>
        <a:spcBef>
          <a:spcPts val="375"/>
        </a:spcBef>
        <a:buFont typeface="Symbol" charset="2"/>
        <a:buChar char="-"/>
        <a:defRPr sz="1350" kern="1200" baseline="0">
          <a:solidFill>
            <a:schemeClr val="tx1"/>
          </a:solidFill>
          <a:latin typeface="Source Sans Pro regular" charset="0"/>
          <a:ea typeface="Source Sans Pro Light" charset="0"/>
          <a:cs typeface="Source Sans Pro Light" charset="0"/>
        </a:defRPr>
      </a:lvl4pPr>
      <a:lvl5pPr marL="81000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 baseline="0">
          <a:solidFill>
            <a:schemeClr val="tx1"/>
          </a:solidFill>
          <a:latin typeface="Source Sans Pro regular" charset="0"/>
          <a:ea typeface="Source Sans Pro Light" charset="0"/>
          <a:cs typeface="Source Sans Pro Light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602">
          <p15:clr>
            <a:srgbClr val="F26B43"/>
          </p15:clr>
        </p15:guide>
        <p15:guide id="2" orient="horz" pos="158">
          <p15:clr>
            <a:srgbClr val="F26B43"/>
          </p15:clr>
        </p15:guide>
        <p15:guide id="3" orient="horz" pos="3049">
          <p15:clr>
            <a:srgbClr val="F26B43"/>
          </p15:clr>
        </p15:guide>
        <p15:guide id="4" pos="612">
          <p15:clr>
            <a:srgbClr val="F26B43"/>
          </p15:clr>
        </p15:guide>
        <p15:guide id="5" orient="horz" pos="668">
          <p15:clr>
            <a:srgbClr val="F26B43"/>
          </p15:clr>
        </p15:guide>
        <p15:guide id="6" orient="horz" pos="3015">
          <p15:clr>
            <a:srgbClr val="F26B43"/>
          </p15:clr>
        </p15:guide>
        <p15:guide id="7" pos="1066">
          <p15:clr>
            <a:srgbClr val="F26B43"/>
          </p15:clr>
        </p15:guide>
        <p15:guide id="8" pos="1519">
          <p15:clr>
            <a:srgbClr val="F26B43"/>
          </p15:clr>
        </p15:guide>
        <p15:guide id="9" pos="1973">
          <p15:clr>
            <a:srgbClr val="F26B43"/>
          </p15:clr>
        </p15:guide>
        <p15:guide id="10" pos="2426">
          <p15:clr>
            <a:srgbClr val="F26B43"/>
          </p15:clr>
        </p15:guide>
        <p15:guide id="11" pos="2880">
          <p15:clr>
            <a:srgbClr val="F26B43"/>
          </p15:clr>
        </p15:guide>
        <p15:guide id="12" pos="3334">
          <p15:clr>
            <a:srgbClr val="F26B43"/>
          </p15:clr>
        </p15:guide>
        <p15:guide id="13" pos="3787">
          <p15:clr>
            <a:srgbClr val="F26B43"/>
          </p15:clr>
        </p15:guide>
        <p15:guide id="14" pos="4241">
          <p15:clr>
            <a:srgbClr val="F26B43"/>
          </p15:clr>
        </p15:guide>
        <p15:guide id="15" pos="4694">
          <p15:clr>
            <a:srgbClr val="F26B43"/>
          </p15:clr>
        </p15:guide>
        <p15:guide id="16" pos="5148">
          <p15:clr>
            <a:srgbClr val="F26B43"/>
          </p15:clr>
        </p15:guide>
        <p15:guide id="17" pos="158">
          <p15:clr>
            <a:srgbClr val="F26B43"/>
          </p15:clr>
        </p15:guide>
        <p15:guide id="18" pos="204">
          <p15:clr>
            <a:srgbClr val="F26B43"/>
          </p15:clr>
        </p15:guide>
        <p15:guide id="19" pos="657">
          <p15:clr>
            <a:srgbClr val="F26B43"/>
          </p15:clr>
        </p15:guide>
        <p15:guide id="20" pos="1111">
          <p15:clr>
            <a:srgbClr val="F26B43"/>
          </p15:clr>
        </p15:guide>
        <p15:guide id="21" pos="1565">
          <p15:clr>
            <a:srgbClr val="F26B43"/>
          </p15:clr>
        </p15:guide>
        <p15:guide id="22" pos="2018">
          <p15:clr>
            <a:srgbClr val="F26B43"/>
          </p15:clr>
        </p15:guide>
        <p15:guide id="23" pos="2472">
          <p15:clr>
            <a:srgbClr val="F26B43"/>
          </p15:clr>
        </p15:guide>
        <p15:guide id="24" pos="2925">
          <p15:clr>
            <a:srgbClr val="F26B43"/>
          </p15:clr>
        </p15:guide>
        <p15:guide id="25" pos="3379">
          <p15:clr>
            <a:srgbClr val="F26B43"/>
          </p15:clr>
        </p15:guide>
        <p15:guide id="26" pos="3833">
          <p15:clr>
            <a:srgbClr val="F26B43"/>
          </p15:clr>
        </p15:guide>
        <p15:guide id="27" pos="4286">
          <p15:clr>
            <a:srgbClr val="F26B43"/>
          </p15:clr>
        </p15:guide>
        <p15:guide id="28" pos="4740">
          <p15:clr>
            <a:srgbClr val="F26B43"/>
          </p15:clr>
        </p15:guide>
        <p15:guide id="29" pos="51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wolfgang.moser@woodmark.de" TargetMode="Externa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immersion.com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wolfgang.moser@woodmark.d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immersion.com/" TargetMode="External"/><Relationship Id="rId1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63.xml"/><Relationship Id="rId4" Type="http://schemas.openxmlformats.org/officeDocument/2006/relationships/image" Target="../media/image2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9.xml"/><Relationship Id="rId1" Type="http://schemas.openxmlformats.org/officeDocument/2006/relationships/themeOverride" Target="../theme/themeOverride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hemeOverride" Target="../theme/themeOverride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immersion.com/" TargetMode="External"/><Relationship Id="rId1" Type="http://schemas.openxmlformats.org/officeDocument/2006/relationships/slideLayout" Target="../slideLayouts/slideLayout4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52.svg"/><Relationship Id="rId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1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hyperlink" Target="https://WMC-Consulting@dev.azure.com/WMC-Consulting/Git%20Workshop/_git/git-workshop" TargetMode="External"/><Relationship Id="rId1" Type="http://schemas.openxmlformats.org/officeDocument/2006/relationships/slideLayout" Target="../slideLayouts/slideLayout4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9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9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5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9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9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0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9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13" Type="http://schemas.openxmlformats.org/officeDocument/2006/relationships/image" Target="../media/image91.svg"/><Relationship Id="rId18" Type="http://schemas.openxmlformats.org/officeDocument/2006/relationships/image" Target="../media/image96.png"/><Relationship Id="rId3" Type="http://schemas.openxmlformats.org/officeDocument/2006/relationships/image" Target="../media/image81.png"/><Relationship Id="rId21" Type="http://schemas.openxmlformats.org/officeDocument/2006/relationships/image" Target="../media/image99.svg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17" Type="http://schemas.openxmlformats.org/officeDocument/2006/relationships/image" Target="../media/image95.svg"/><Relationship Id="rId2" Type="http://schemas.openxmlformats.org/officeDocument/2006/relationships/notesSlide" Target="../notesSlides/notesSlide33.xml"/><Relationship Id="rId16" Type="http://schemas.openxmlformats.org/officeDocument/2006/relationships/image" Target="../media/image94.png"/><Relationship Id="rId20" Type="http://schemas.openxmlformats.org/officeDocument/2006/relationships/image" Target="../media/image9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4.svg"/><Relationship Id="rId11" Type="http://schemas.openxmlformats.org/officeDocument/2006/relationships/image" Target="../media/image89.svg"/><Relationship Id="rId5" Type="http://schemas.openxmlformats.org/officeDocument/2006/relationships/image" Target="../media/image83.png"/><Relationship Id="rId15" Type="http://schemas.openxmlformats.org/officeDocument/2006/relationships/image" Target="../media/image93.svg"/><Relationship Id="rId23" Type="http://schemas.openxmlformats.org/officeDocument/2006/relationships/image" Target="../media/image101.svg"/><Relationship Id="rId10" Type="http://schemas.openxmlformats.org/officeDocument/2006/relationships/image" Target="../media/image88.png"/><Relationship Id="rId19" Type="http://schemas.openxmlformats.org/officeDocument/2006/relationships/image" Target="../media/image97.svg"/><Relationship Id="rId4" Type="http://schemas.openxmlformats.org/officeDocument/2006/relationships/image" Target="../media/image82.svg"/><Relationship Id="rId9" Type="http://schemas.openxmlformats.org/officeDocument/2006/relationships/image" Target="../media/image87.svg"/><Relationship Id="rId14" Type="http://schemas.openxmlformats.org/officeDocument/2006/relationships/image" Target="../media/image92.png"/><Relationship Id="rId22" Type="http://schemas.openxmlformats.org/officeDocument/2006/relationships/image" Target="../media/image10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2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3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4.png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itergo.com/E656422/git-workshop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9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6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7.png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5.png"/><Relationship Id="rId7" Type="http://schemas.openxmlformats.org/officeDocument/2006/relationships/image" Target="../media/image111.sv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10.png"/><Relationship Id="rId11" Type="http://schemas.openxmlformats.org/officeDocument/2006/relationships/image" Target="../media/image115.svg"/><Relationship Id="rId5" Type="http://schemas.openxmlformats.org/officeDocument/2006/relationships/image" Target="../media/image109.svg"/><Relationship Id="rId10" Type="http://schemas.openxmlformats.org/officeDocument/2006/relationships/image" Target="../media/image114.png"/><Relationship Id="rId4" Type="http://schemas.openxmlformats.org/officeDocument/2006/relationships/image" Target="../media/image108.png"/><Relationship Id="rId9" Type="http://schemas.openxmlformats.org/officeDocument/2006/relationships/image" Target="../media/image113.sv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8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9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27426A5-A0D3-437C-A1E8-79117F6BFB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309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27426A5-A0D3-437C-A1E8-79117F6BF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028091F7-D771-45A9-ADC8-B1BA7058A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Git</a:t>
            </a:r>
            <a:r>
              <a:rPr lang="de-DE" dirty="0"/>
              <a:t>, </a:t>
            </a:r>
            <a:r>
              <a:rPr lang="de-DE" dirty="0" err="1"/>
              <a:t>PyCharm</a:t>
            </a:r>
            <a:r>
              <a:rPr lang="de-DE" dirty="0"/>
              <a:t> &amp; 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DA9370F-BE26-487F-B3AB-B2CC85D023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rom Version Control Basics to Seamless Team Collaboratio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806DB3-79C9-4B50-81C5-42DBAA98B58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50825" y="4860448"/>
            <a:ext cx="720000" cy="288000"/>
          </a:xfrm>
        </p:spPr>
        <p:txBody>
          <a:bodyPr/>
          <a:lstStyle/>
          <a:p>
            <a:fld id="{F4793EFC-53EA-4417-A672-346364EF39DC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46A82EA-D375-464C-9EB3-5F64CA13AF8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1551" y="4860448"/>
            <a:ext cx="5580000" cy="288000"/>
          </a:xfrm>
        </p:spPr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128DFA9-0C0A-46D0-BCED-627D098822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244408" y="4860448"/>
            <a:ext cx="720079" cy="288000"/>
          </a:xfrm>
        </p:spPr>
        <p:txBody>
          <a:bodyPr/>
          <a:lstStyle/>
          <a:p>
            <a:fld id="{20701BC5-B25A-9846-8C4A-A8E343C52282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420879"/>
      </p:ext>
    </p:extLst>
  </p:cSld>
  <p:clrMapOvr>
    <a:masterClrMapping/>
  </p:clrMapOvr>
  <p:transition spd="slow" advClick="0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FE7C4A-922B-7461-7DAB-FF5FA672B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b="1" dirty="0">
                <a:latin typeface="Consolas" panose="020B0609020204030204" pitchFamily="49" charset="0"/>
              </a:rPr>
              <a:t>.</a:t>
            </a:r>
            <a:r>
              <a:rPr lang="de-DE" b="1" dirty="0" err="1">
                <a:latin typeface="Consolas" panose="020B0609020204030204" pitchFamily="49" charset="0"/>
              </a:rPr>
              <a:t>git</a:t>
            </a:r>
            <a:r>
              <a:rPr lang="de-DE" dirty="0"/>
              <a:t> Folder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891E8D3-63BA-14A0-E404-F6228D7F2F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lang="de-DE" b="1" dirty="0" err="1">
                <a:latin typeface="Consolas" panose="020B0609020204030204" pitchFamily="49" charset="0"/>
                <a:cs typeface="Courier New" panose="02070309020205020404" pitchFamily="49" charset="0"/>
              </a:rPr>
              <a:t>git</a:t>
            </a:r>
            <a:endParaRPr lang="de-DE" b="1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├── </a:t>
            </a:r>
            <a:r>
              <a:rPr lang="de-DE" b="1" dirty="0" err="1">
                <a:latin typeface="Consolas" panose="020B0609020204030204" pitchFamily="49" charset="0"/>
                <a:cs typeface="Courier New" panose="02070309020205020404" pitchFamily="49" charset="0"/>
              </a:rPr>
              <a:t>config</a:t>
            </a:r>
            <a:endParaRPr lang="de-DE" b="1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├── HEAD</a:t>
            </a: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├── </a:t>
            </a:r>
            <a:r>
              <a:rPr lang="de-DE" b="1" dirty="0" err="1">
                <a:latin typeface="Consolas" panose="020B0609020204030204" pitchFamily="49" charset="0"/>
                <a:cs typeface="Courier New" panose="02070309020205020404" pitchFamily="49" charset="0"/>
              </a:rPr>
              <a:t>hooks</a:t>
            </a:r>
            <a:endParaRPr lang="de-DE" b="1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│   └── </a:t>
            </a:r>
            <a:r>
              <a:rPr lang="de-DE" b="1" dirty="0" err="1">
                <a:latin typeface="Consolas" panose="020B0609020204030204" pitchFamily="49" charset="0"/>
                <a:cs typeface="Courier New" panose="02070309020205020404" pitchFamily="49" charset="0"/>
              </a:rPr>
              <a:t>prepare-commit-msg.msample</a:t>
            </a:r>
            <a:endParaRPr lang="de-DE" b="1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├── </a:t>
            </a:r>
            <a:r>
              <a:rPr lang="de-DE" b="1" dirty="0" err="1">
                <a:latin typeface="Consolas" panose="020B0609020204030204" pitchFamily="49" charset="0"/>
                <a:cs typeface="Courier New" panose="02070309020205020404" pitchFamily="49" charset="0"/>
              </a:rPr>
              <a:t>objects</a:t>
            </a:r>
            <a:endParaRPr lang="de-DE" b="1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│   ├── </a:t>
            </a:r>
            <a:r>
              <a:rPr lang="de-DE" b="1" dirty="0" err="1">
                <a:latin typeface="Consolas" panose="020B0609020204030204" pitchFamily="49" charset="0"/>
                <a:cs typeface="Courier New" panose="02070309020205020404" pitchFamily="49" charset="0"/>
              </a:rPr>
              <a:t>info</a:t>
            </a:r>
            <a:endParaRPr lang="de-DE" b="1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│   └── pack</a:t>
            </a: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└── </a:t>
            </a:r>
            <a:r>
              <a:rPr lang="de-DE" b="1" dirty="0" err="1">
                <a:latin typeface="Consolas" panose="020B0609020204030204" pitchFamily="49" charset="0"/>
                <a:cs typeface="Courier New" panose="02070309020205020404" pitchFamily="49" charset="0"/>
              </a:rPr>
              <a:t>refs</a:t>
            </a:r>
            <a:endParaRPr lang="de-DE" b="1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    ├── </a:t>
            </a:r>
            <a:r>
              <a:rPr lang="de-DE" b="1" dirty="0" err="1">
                <a:latin typeface="Consolas" panose="020B0609020204030204" pitchFamily="49" charset="0"/>
                <a:cs typeface="Courier New" panose="02070309020205020404" pitchFamily="49" charset="0"/>
              </a:rPr>
              <a:t>heads</a:t>
            </a:r>
            <a:endParaRPr lang="de-DE" b="1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b="1" dirty="0">
                <a:latin typeface="Consolas" panose="020B0609020204030204" pitchFamily="49" charset="0"/>
                <a:cs typeface="Courier New" panose="02070309020205020404" pitchFamily="49" charset="0"/>
              </a:rPr>
              <a:t>    └── tag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51FD62B-DB39-8885-6EF9-B6DBC28A1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2E341FF-57F8-AA47-A0C0-EEE62ECC65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662255-6FB8-4415-55C1-10D5E500FD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49D232B-5A17-6AC1-71D8-26DB9409C00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2DCFE8C-8D70-4632-A3B2-456DBB9B3C2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51FF89-84B4-80BD-152D-398D8C01113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2B5ADD-22E2-FAB9-7D62-226AA8C303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7" name="Content Placeholder 12">
            <a:extLst>
              <a:ext uri="{FF2B5EF4-FFF2-40B4-BE49-F238E27FC236}">
                <a16:creationId xmlns:a16="http://schemas.microsoft.com/office/drawing/2014/main" id="{036A13D6-4D34-B7E5-8729-53B7A9571D86}"/>
              </a:ext>
            </a:extLst>
          </p:cNvPr>
          <p:cNvSpPr txBox="1">
            <a:spLocks/>
          </p:cNvSpPr>
          <p:nvPr/>
        </p:nvSpPr>
        <p:spPr>
          <a:xfrm>
            <a:off x="4795839" y="972000"/>
            <a:ext cx="4024162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3pPr>
            <a:lvl4pPr marL="719138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4pPr>
            <a:lvl5pPr marL="712788" indent="-1698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F95390-E8C2-5548-5AA9-B14DC2900754}"/>
              </a:ext>
            </a:extLst>
          </p:cNvPr>
          <p:cNvSpPr txBox="1"/>
          <p:nvPr/>
        </p:nvSpPr>
        <p:spPr>
          <a:xfrm>
            <a:off x="1664788" y="1373221"/>
            <a:ext cx="72377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effectLst/>
              </a:rPr>
              <a:t>⟶</a:t>
            </a:r>
            <a:r>
              <a:rPr lang="de-DE" sz="1600" dirty="0"/>
              <a:t> a </a:t>
            </a:r>
            <a:r>
              <a:rPr lang="en-US" sz="1600" dirty="0"/>
              <a:t>text file that contains your git configuration for the current repository</a:t>
            </a:r>
            <a:endParaRPr lang="de-DE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EF590A-F1B2-7B7D-3854-AD40E444558B}"/>
              </a:ext>
            </a:extLst>
          </p:cNvPr>
          <p:cNvSpPr txBox="1"/>
          <p:nvPr/>
        </p:nvSpPr>
        <p:spPr>
          <a:xfrm>
            <a:off x="1664788" y="1685992"/>
            <a:ext cx="72377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effectLst/>
              </a:rPr>
              <a:t>⟶</a:t>
            </a:r>
            <a:r>
              <a:rPr lang="de-DE" sz="1600" dirty="0"/>
              <a:t> </a:t>
            </a:r>
            <a:r>
              <a:rPr lang="en-US" sz="1600" dirty="0"/>
              <a:t>contains the current head of the repository, e.g. </a:t>
            </a:r>
            <a:r>
              <a:rPr lang="en-US" sz="16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refs/heads/main</a:t>
            </a:r>
            <a:endParaRPr lang="de-DE" sz="1600" dirty="0">
              <a:highlight>
                <a:srgbClr val="CCEBD8"/>
              </a:highlight>
              <a:latin typeface="Consolas" panose="020B0609020204030204" pitchFamily="49" charset="0"/>
              <a:cs typeface="Courier New" panose="02070309020205020404" pitchFamily="49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DADFF1-7DAE-0D1B-ECF1-9A7A6B9E6739}"/>
              </a:ext>
            </a:extLst>
          </p:cNvPr>
          <p:cNvSpPr txBox="1"/>
          <p:nvPr/>
        </p:nvSpPr>
        <p:spPr>
          <a:xfrm>
            <a:off x="1664788" y="2038562"/>
            <a:ext cx="72377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effectLst/>
              </a:rPr>
              <a:t>⟶</a:t>
            </a:r>
            <a:r>
              <a:rPr lang="de-DE" sz="1600" dirty="0"/>
              <a:t> </a:t>
            </a:r>
            <a:r>
              <a:rPr lang="en-US" sz="1600" dirty="0"/>
              <a:t>contain any scripts that can be run before/after git does anything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59534BA-2324-832A-19B2-0F1CC2B8D7D0}"/>
              </a:ext>
            </a:extLst>
          </p:cNvPr>
          <p:cNvSpPr txBox="1"/>
          <p:nvPr/>
        </p:nvSpPr>
        <p:spPr>
          <a:xfrm>
            <a:off x="1682996" y="2741894"/>
            <a:ext cx="73990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effectLst/>
              </a:rPr>
              <a:t>⟶</a:t>
            </a:r>
            <a:r>
              <a:rPr lang="de-DE" sz="1600" dirty="0"/>
              <a:t> </a:t>
            </a:r>
            <a:r>
              <a:rPr lang="en-US" sz="1600" dirty="0"/>
              <a:t>contains the git objects (the data about the files, commits etc. in your repository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3027140-B091-A19E-B4DC-B2CED07040D7}"/>
              </a:ext>
            </a:extLst>
          </p:cNvPr>
          <p:cNvSpPr txBox="1"/>
          <p:nvPr/>
        </p:nvSpPr>
        <p:spPr>
          <a:xfrm>
            <a:off x="1682996" y="3793907"/>
            <a:ext cx="73990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effectLst/>
              </a:rPr>
              <a:t>⟶</a:t>
            </a:r>
            <a:r>
              <a:rPr lang="de-DE" sz="1600" dirty="0"/>
              <a:t> </a:t>
            </a:r>
            <a:r>
              <a:rPr lang="en-US" sz="1600" dirty="0"/>
              <a:t>stores references (pointers). </a:t>
            </a:r>
            <a:r>
              <a:rPr lang="en-US" sz="16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refs/heads</a:t>
            </a:r>
            <a:r>
              <a:rPr lang="en-US" sz="1600" dirty="0">
                <a:cs typeface="Courier New" panose="02070309020205020404" pitchFamily="49" charset="0"/>
              </a:rPr>
              <a:t> </a:t>
            </a:r>
            <a:r>
              <a:rPr lang="en-US" sz="1600" dirty="0"/>
              <a:t>for branches and </a:t>
            </a:r>
            <a:r>
              <a:rPr lang="en-US" sz="16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refs/tags</a:t>
            </a:r>
            <a:r>
              <a:rPr lang="en-US" sz="1600" dirty="0"/>
              <a:t> for tags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665515"/>
      </p:ext>
    </p:extLst>
  </p:cSld>
  <p:clrMapOvr>
    <a:masterClrMapping/>
  </p:clrMapOvr>
  <p:transition spd="slow" advClick="0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EE817F-506E-1BF6-FAD7-446D83966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Basic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1AC2EB-CE47-6B7A-8FC6-A8C0CBE92E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03813-0861-4FB9-A8F4-AF3B46024063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693A8C-6AF0-3D86-CB8D-BAAACCDDF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B663AE-86D3-E82E-424F-8417B7948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1028652"/>
      </p:ext>
    </p:extLst>
  </p:cSld>
  <p:clrMapOvr>
    <a:masterClrMapping/>
  </p:clrMapOvr>
  <p:transition spd="slow" advClick="0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255B0-F46A-39FA-860F-70B8BEF34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74" y="363263"/>
            <a:ext cx="8244301" cy="648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Three</a:t>
            </a:r>
            <a:r>
              <a:rPr lang="de-DE" dirty="0"/>
              <a:t> File Stat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DEE806-921E-AF0F-7ABE-264F81818D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1B29663-32D3-9DF5-8384-F78A595CB4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0995F1-C515-C5BF-8C02-FC6029F19B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FD632A-4415-02FD-AFED-DC72436595C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9562688-8BF5-461E-B923-BBA7B67C449A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B6D981-58E6-B522-D95B-BC92FA5266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5E311B-5F6A-AA1B-4F3A-A8B6CA438C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A850F84-6EAA-0B7A-077C-B798C1FA737F}"/>
              </a:ext>
            </a:extLst>
          </p:cNvPr>
          <p:cNvSpPr txBox="1">
            <a:spLocks/>
          </p:cNvSpPr>
          <p:nvPr/>
        </p:nvSpPr>
        <p:spPr>
          <a:xfrm>
            <a:off x="323999" y="1060450"/>
            <a:ext cx="3682313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3pPr>
            <a:lvl4pPr marL="719138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4pPr>
            <a:lvl5pPr marL="712788" indent="-1698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:</a:t>
            </a:r>
          </a:p>
          <a:p>
            <a:r>
              <a:rPr lang="de-DE" b="1" dirty="0" err="1"/>
              <a:t>Modified</a:t>
            </a:r>
            <a:r>
              <a:rPr lang="de-DE" dirty="0"/>
              <a:t>: </a:t>
            </a:r>
            <a:r>
              <a:rPr lang="en-US" dirty="0"/>
              <a:t>you have changed the file but have not committed it yet</a:t>
            </a:r>
            <a:endParaRPr lang="de-DE" dirty="0"/>
          </a:p>
          <a:p>
            <a:r>
              <a:rPr lang="de-DE" b="1" dirty="0" err="1"/>
              <a:t>Staged</a:t>
            </a:r>
            <a:r>
              <a:rPr lang="de-DE" dirty="0"/>
              <a:t>: </a:t>
            </a:r>
            <a:r>
              <a:rPr lang="en-US" dirty="0"/>
              <a:t>you have marked a modified file in its current version to go into your next commit snapshot</a:t>
            </a:r>
            <a:endParaRPr lang="de-DE" dirty="0"/>
          </a:p>
          <a:p>
            <a:r>
              <a:rPr lang="de-DE" b="1" dirty="0" err="1"/>
              <a:t>Committed</a:t>
            </a:r>
            <a:r>
              <a:rPr lang="de-DE" dirty="0"/>
              <a:t>: </a:t>
            </a:r>
            <a:r>
              <a:rPr lang="en-US" dirty="0"/>
              <a:t>means that the data is safely stored in your local database</a:t>
            </a:r>
            <a:endParaRPr lang="de-DE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FFE8964-B1D7-EF8E-7B14-AF78A3792C8E}"/>
              </a:ext>
            </a:extLst>
          </p:cNvPr>
          <p:cNvGrpSpPr/>
          <p:nvPr/>
        </p:nvGrpSpPr>
        <p:grpSpPr>
          <a:xfrm>
            <a:off x="4236938" y="965983"/>
            <a:ext cx="4583063" cy="2905569"/>
            <a:chOff x="4272304" y="889191"/>
            <a:chExt cx="4583063" cy="290556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D311944-0245-6AB6-83EC-EA5DA56736BD}"/>
                </a:ext>
              </a:extLst>
            </p:cNvPr>
            <p:cNvSpPr/>
            <p:nvPr/>
          </p:nvSpPr>
          <p:spPr>
            <a:xfrm>
              <a:off x="4272304" y="889279"/>
              <a:ext cx="1197037" cy="51305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/>
                <a:t>Working Directory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0BD85AA-5344-EFD9-9AD9-6C15A837286E}"/>
                </a:ext>
              </a:extLst>
            </p:cNvPr>
            <p:cNvSpPr/>
            <p:nvPr/>
          </p:nvSpPr>
          <p:spPr>
            <a:xfrm>
              <a:off x="5964848" y="889191"/>
              <a:ext cx="1197037" cy="51305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/>
                <a:t>Staging</a:t>
              </a:r>
              <a:endParaRPr lang="de-DE" sz="1400" dirty="0"/>
            </a:p>
            <a:p>
              <a:pPr algn="ctr"/>
              <a:r>
                <a:rPr lang="de-DE" sz="1400" dirty="0"/>
                <a:t>Area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7E65C39-1C08-54D8-F5DA-31E51F5B0EA3}"/>
                </a:ext>
              </a:extLst>
            </p:cNvPr>
            <p:cNvSpPr/>
            <p:nvPr/>
          </p:nvSpPr>
          <p:spPr>
            <a:xfrm>
              <a:off x="7658330" y="889191"/>
              <a:ext cx="1197037" cy="5130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.</a:t>
              </a:r>
              <a:r>
                <a:rPr lang="de-DE" sz="1400" dirty="0" err="1">
                  <a:solidFill>
                    <a:schemeClr val="tx1"/>
                  </a:solidFill>
                </a:rPr>
                <a:t>git</a:t>
              </a:r>
              <a:r>
                <a:rPr lang="de-DE" sz="1400" dirty="0">
                  <a:solidFill>
                    <a:schemeClr val="tx1"/>
                  </a:solidFill>
                </a:rPr>
                <a:t> Directory (Repository)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5BA2363-F149-6440-872B-315CB041C0E2}"/>
                </a:ext>
              </a:extLst>
            </p:cNvPr>
            <p:cNvCxnSpPr>
              <a:stCxn id="3" idx="2"/>
            </p:cNvCxnSpPr>
            <p:nvPr/>
          </p:nvCxnSpPr>
          <p:spPr>
            <a:xfrm flipH="1">
              <a:off x="4870822" y="1402329"/>
              <a:ext cx="1" cy="2392431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6BE7034-5B92-63F4-BD3D-1CEEB9F6A577}"/>
                </a:ext>
              </a:extLst>
            </p:cNvPr>
            <p:cNvCxnSpPr>
              <a:cxnSpLocks/>
              <a:stCxn id="4" idx="2"/>
            </p:cNvCxnSpPr>
            <p:nvPr/>
          </p:nvCxnSpPr>
          <p:spPr>
            <a:xfrm>
              <a:off x="6563367" y="1402241"/>
              <a:ext cx="0" cy="2392519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5C212DD-BABF-60DA-FCE2-44F3B26954DE}"/>
                </a:ext>
              </a:extLst>
            </p:cNvPr>
            <p:cNvCxnSpPr>
              <a:cxnSpLocks/>
              <a:stCxn id="5" idx="2"/>
            </p:cNvCxnSpPr>
            <p:nvPr/>
          </p:nvCxnSpPr>
          <p:spPr>
            <a:xfrm>
              <a:off x="8256849" y="1402241"/>
              <a:ext cx="0" cy="2392431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Arrow: Left 23">
              <a:extLst>
                <a:ext uri="{FF2B5EF4-FFF2-40B4-BE49-F238E27FC236}">
                  <a16:creationId xmlns:a16="http://schemas.microsoft.com/office/drawing/2014/main" id="{F757C8EE-0AD7-F4D4-B861-A419BB15D79B}"/>
                </a:ext>
              </a:extLst>
            </p:cNvPr>
            <p:cNvSpPr/>
            <p:nvPr/>
          </p:nvSpPr>
          <p:spPr>
            <a:xfrm>
              <a:off x="4870823" y="1676589"/>
              <a:ext cx="3386026" cy="586740"/>
            </a:xfrm>
            <a:prstGeom prst="lef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/>
                <a:t>Checkout</a:t>
              </a:r>
              <a:r>
                <a:rPr lang="de-DE" sz="1400" dirty="0"/>
                <a:t> </a:t>
              </a:r>
              <a:r>
                <a:rPr lang="de-DE" sz="1400" dirty="0" err="1"/>
                <a:t>the</a:t>
              </a:r>
              <a:r>
                <a:rPr lang="de-DE" sz="1400" dirty="0"/>
                <a:t> Project</a:t>
              </a:r>
            </a:p>
          </p:txBody>
        </p:sp>
        <p:sp>
          <p:nvSpPr>
            <p:cNvPr id="25" name="Arrow: Right 24">
              <a:extLst>
                <a:ext uri="{FF2B5EF4-FFF2-40B4-BE49-F238E27FC236}">
                  <a16:creationId xmlns:a16="http://schemas.microsoft.com/office/drawing/2014/main" id="{6B7A7B5A-B8F4-AE06-F7F4-B78C4BB7FC95}"/>
                </a:ext>
              </a:extLst>
            </p:cNvPr>
            <p:cNvSpPr/>
            <p:nvPr/>
          </p:nvSpPr>
          <p:spPr>
            <a:xfrm>
              <a:off x="4870823" y="2482066"/>
              <a:ext cx="1680727" cy="586740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/>
                <a:t>Stage </a:t>
              </a:r>
              <a:r>
                <a:rPr lang="de-DE" sz="1400" dirty="0" err="1"/>
                <a:t>Changes</a:t>
              </a:r>
              <a:endParaRPr lang="de-DE" sz="1400" dirty="0"/>
            </a:p>
          </p:txBody>
        </p:sp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48F17148-F8F0-5749-B15B-777C623EEBFF}"/>
                </a:ext>
              </a:extLst>
            </p:cNvPr>
            <p:cNvSpPr/>
            <p:nvPr/>
          </p:nvSpPr>
          <p:spPr>
            <a:xfrm>
              <a:off x="6563366" y="3152409"/>
              <a:ext cx="1680727" cy="586740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/>
                <a:t>Commi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2425868"/>
      </p:ext>
    </p:extLst>
  </p:cSld>
  <p:clrMapOvr>
    <a:masterClrMapping/>
  </p:clrMapOvr>
  <p:transition spd="slow" advClick="0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71DC2FF-8800-93B4-D056-49DFA91A1A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059657"/>
            <a:ext cx="3542827" cy="539986"/>
          </a:xfrm>
        </p:spPr>
        <p:txBody>
          <a:bodyPr/>
          <a:lstStyle/>
          <a:p>
            <a:r>
              <a:rPr lang="en-US" dirty="0"/>
              <a:t>Initializing a Repository in an Existing Directory</a:t>
            </a:r>
          </a:p>
          <a:p>
            <a:endParaRPr lang="de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687D8EA-2312-4865-F153-9CB3B66D5CC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24028" y="1059657"/>
            <a:ext cx="4569148" cy="539986"/>
          </a:xfrm>
        </p:spPr>
        <p:txBody>
          <a:bodyPr/>
          <a:lstStyle/>
          <a:p>
            <a:r>
              <a:rPr lang="de-DE" dirty="0" err="1"/>
              <a:t>Cloning</a:t>
            </a:r>
            <a:r>
              <a:rPr lang="de-DE" dirty="0"/>
              <a:t> an </a:t>
            </a:r>
            <a:r>
              <a:rPr lang="de-DE" dirty="0" err="1"/>
              <a:t>Existing</a:t>
            </a:r>
            <a:r>
              <a:rPr lang="de-DE" dirty="0"/>
              <a:t> Repository</a:t>
            </a:r>
          </a:p>
          <a:p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EF8DFB-8E2E-F286-C348-BF7149800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Git</a:t>
            </a:r>
            <a:r>
              <a:rPr lang="de-DE" dirty="0"/>
              <a:t> Repository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B58DF75-D539-67BD-6306-B18C279342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CD2FEC6-7A9A-F32E-12FC-5DF731CBB4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ED84B1F-01A4-CDFF-AF6C-2FF959AFFCD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23999" y="1687298"/>
            <a:ext cx="3736557" cy="2912939"/>
          </a:xfrm>
        </p:spPr>
        <p:txBody>
          <a:bodyPr/>
          <a:lstStyle/>
          <a:p>
            <a:pPr marL="0" indent="0">
              <a:buNone/>
            </a:pPr>
            <a:r>
              <a:rPr lang="en-US" sz="15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$ cd /home/user/</a:t>
            </a:r>
            <a:r>
              <a:rPr lang="en-US" sz="1500" dirty="0" err="1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my_project</a:t>
            </a:r>
            <a:endParaRPr lang="en-US" sz="1500" dirty="0">
              <a:highlight>
                <a:srgbClr val="CCEBD8"/>
              </a:highlight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5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$ git </a:t>
            </a:r>
            <a:r>
              <a:rPr lang="en-US" sz="1500" dirty="0" err="1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init</a:t>
            </a:r>
            <a:endParaRPr lang="de-DE" sz="1500" dirty="0">
              <a:highlight>
                <a:srgbClr val="CCEBD8"/>
              </a:highlight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de-DE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ourier New" panose="02070309020205020404" pitchFamily="49" charset="0"/>
              </a:rPr>
              <a:t>Creates a new subdirectory named </a:t>
            </a:r>
            <a:r>
              <a:rPr lang="en-US" sz="16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.git</a:t>
            </a:r>
            <a:r>
              <a:rPr lang="en-US" sz="1600" dirty="0">
                <a:cs typeface="Courier New" panose="02070309020205020404" pitchFamily="49" charset="0"/>
              </a:rPr>
              <a:t> that contains a Git repository skelet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ourier New" panose="02070309020205020404" pitchFamily="49" charset="0"/>
              </a:rPr>
              <a:t>At this point, nothing in your project is tracked yet.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C4FC0AA-21EF-2017-A048-31C51A11E1D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324028" y="1687298"/>
            <a:ext cx="4567692" cy="2912939"/>
          </a:xfrm>
        </p:spPr>
        <p:txBody>
          <a:bodyPr/>
          <a:lstStyle/>
          <a:p>
            <a:pPr marL="0" indent="0">
              <a:buNone/>
            </a:pPr>
            <a:r>
              <a:rPr lang="de-DE" sz="15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$ </a:t>
            </a:r>
            <a:r>
              <a:rPr lang="de-DE" sz="1500" dirty="0" err="1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git</a:t>
            </a:r>
            <a:r>
              <a:rPr lang="de-DE" sz="15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 </a:t>
            </a:r>
            <a:r>
              <a:rPr lang="de-DE" sz="1500" dirty="0" err="1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clone</a:t>
            </a:r>
            <a:r>
              <a:rPr lang="de-DE" sz="15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 https://github.com/git/git.git</a:t>
            </a:r>
          </a:p>
          <a:p>
            <a:pPr marL="0" indent="0">
              <a:buNone/>
            </a:pPr>
            <a:endParaRPr lang="de-DE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ourier New" panose="02070309020205020404" pitchFamily="49" charset="0"/>
              </a:rPr>
              <a:t>Git receives a full copy of nearly all data that the server h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highlight>
                  <a:srgbClr val="CCEBD8"/>
                </a:highlight>
                <a:latin typeface="Consolas" panose="020B0609020204030204" pitchFamily="49" charset="0"/>
                <a:cs typeface="Courier New" panose="02070309020205020404" pitchFamily="49" charset="0"/>
              </a:rPr>
              <a:t>git clone</a:t>
            </a:r>
            <a:r>
              <a:rPr lang="en-US" sz="1600" dirty="0">
                <a:cs typeface="Courier New" panose="02070309020205020404" pitchFamily="49" charset="0"/>
              </a:rPr>
              <a:t> supports many protocols (HTTPS, SSH, etc.)</a:t>
            </a:r>
            <a:endParaRPr lang="de-DE" sz="1600" dirty="0">
              <a:cs typeface="Courier New" panose="02070309020205020404" pitchFamily="49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207F165-4B73-DCFF-66CE-5F4EF42BEF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A959E48-F834-D209-FB7B-D6EF5AF09B41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B7A3DD6-ADF9-4E89-A0E9-B6CD7A935B00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DA85C8-FB23-CB7A-F07C-1B998D7D69E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C2B5429-6035-A9C3-7A16-F39786F5574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7883964"/>
      </p:ext>
    </p:extLst>
  </p:cSld>
  <p:clrMapOvr>
    <a:masterClrMapping/>
  </p:clrMapOvr>
  <p:transition spd="slow" advClick="0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255B0-F46A-39FA-860F-70B8BEF34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ey </a:t>
            </a:r>
            <a:r>
              <a:rPr lang="de-DE" dirty="0" err="1"/>
              <a:t>Command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le Status </a:t>
            </a:r>
            <a:r>
              <a:rPr lang="de-DE" dirty="0" err="1"/>
              <a:t>Modification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DEE806-921E-AF0F-7ABE-264F81818D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1B29663-32D3-9DF5-8384-F78A595CB4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0995F1-C515-C5BF-8C02-FC6029F19B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FD632A-4415-02FD-AFED-DC72436595C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26BC10D-B536-4BC1-A0FF-EC207952D07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B6D981-58E6-B522-D95B-BC92FA5266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5E311B-5F6A-AA1B-4F3A-A8B6CA438C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A850F84-6EAA-0B7A-077C-B798C1FA737F}"/>
              </a:ext>
            </a:extLst>
          </p:cNvPr>
          <p:cNvSpPr txBox="1">
            <a:spLocks/>
          </p:cNvSpPr>
          <p:nvPr/>
        </p:nvSpPr>
        <p:spPr>
          <a:xfrm>
            <a:off x="324000" y="1060450"/>
            <a:ext cx="4583048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3pPr>
            <a:lvl4pPr marL="719138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4pPr>
            <a:lvl5pPr marL="712788" indent="-1698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status</a:t>
            </a:r>
            <a:r>
              <a:rPr lang="en-US" dirty="0"/>
              <a:t>: Shows the state of the working directory and staging area.</a:t>
            </a: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add &lt;file&gt;</a:t>
            </a:r>
            <a:r>
              <a:rPr lang="en-US" dirty="0"/>
              <a:t>: Moves changes to the staging area.</a:t>
            </a: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commit</a:t>
            </a:r>
            <a:r>
              <a:rPr lang="en-US" dirty="0"/>
              <a:t>: Records a snapshot of the staged changes.</a:t>
            </a: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diff</a:t>
            </a:r>
            <a:r>
              <a:rPr lang="en-US" dirty="0"/>
              <a:t>: Shows changes between the working directory and the staging area or between commits.</a:t>
            </a:r>
          </a:p>
          <a:p>
            <a:r>
              <a:rPr lang="en-US" sz="1300" dirty="0">
                <a:highlight>
                  <a:srgbClr val="CCEBD8"/>
                </a:highlight>
                <a:latin typeface="Consolas" panose="020B0609020204030204" pitchFamily="49" charset="0"/>
              </a:rPr>
              <a:t>git diff --staged</a:t>
            </a:r>
            <a:r>
              <a:rPr lang="en-US" sz="1300" dirty="0"/>
              <a:t>: Shows changes between staged files and the last commit.</a:t>
            </a:r>
          </a:p>
          <a:p>
            <a:r>
              <a:rPr lang="en-US" sz="1300" dirty="0">
                <a:highlight>
                  <a:srgbClr val="CCEBD8"/>
                </a:highlight>
                <a:latin typeface="Consolas" panose="020B0609020204030204" pitchFamily="49" charset="0"/>
              </a:rPr>
              <a:t>git rm &lt;file&gt;</a:t>
            </a:r>
            <a:r>
              <a:rPr lang="en-US" sz="1300" dirty="0"/>
              <a:t>: Removes a file from the working directory and staging area.</a:t>
            </a:r>
          </a:p>
          <a:p>
            <a:r>
              <a:rPr lang="en-US" sz="1300" dirty="0">
                <a:highlight>
                  <a:srgbClr val="CCEBD8"/>
                </a:highlight>
                <a:latin typeface="Consolas" panose="020B0609020204030204" pitchFamily="49" charset="0"/>
              </a:rPr>
              <a:t>git mv &lt;old-file&gt; &lt;new-file&gt;</a:t>
            </a:r>
            <a:r>
              <a:rPr lang="en-US" sz="1300" dirty="0"/>
              <a:t>: Moves or renames a file.</a:t>
            </a:r>
            <a:endParaRPr lang="de-DE" sz="1300" dirty="0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42E4266-158E-EC88-C9D9-B59EC5EF8553}"/>
              </a:ext>
            </a:extLst>
          </p:cNvPr>
          <p:cNvGrpSpPr/>
          <p:nvPr/>
        </p:nvGrpSpPr>
        <p:grpSpPr>
          <a:xfrm>
            <a:off x="4808443" y="1129864"/>
            <a:ext cx="4182162" cy="3210163"/>
            <a:chOff x="4685199" y="1239917"/>
            <a:chExt cx="4182162" cy="321016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6EA8F15-39BF-F169-20BE-466B6BC9BEBC}"/>
                </a:ext>
              </a:extLst>
            </p:cNvPr>
            <p:cNvSpPr/>
            <p:nvPr/>
          </p:nvSpPr>
          <p:spPr>
            <a:xfrm>
              <a:off x="7909481" y="1239917"/>
              <a:ext cx="957880" cy="31276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/>
                <a:t>Staged</a:t>
              </a:r>
              <a:endParaRPr lang="de-DE" sz="12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A925F50-F37C-83F7-F4AC-6287DE8A39C7}"/>
                </a:ext>
              </a:extLst>
            </p:cNvPr>
            <p:cNvSpPr/>
            <p:nvPr/>
          </p:nvSpPr>
          <p:spPr>
            <a:xfrm>
              <a:off x="5762461" y="1239918"/>
              <a:ext cx="957882" cy="31276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/>
                <a:t>Unmodified</a:t>
              </a:r>
              <a:endParaRPr lang="de-DE" sz="1200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2C5F875-6C95-38A4-B336-0E2D5F5792AB}"/>
                </a:ext>
              </a:extLst>
            </p:cNvPr>
            <p:cNvSpPr/>
            <p:nvPr/>
          </p:nvSpPr>
          <p:spPr>
            <a:xfrm>
              <a:off x="4685199" y="1239918"/>
              <a:ext cx="957882" cy="31276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ntracke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B15766A-A1E8-A235-55B9-01AF2737F375}"/>
                </a:ext>
              </a:extLst>
            </p:cNvPr>
            <p:cNvCxnSpPr>
              <a:cxnSpLocks/>
              <a:stCxn id="4" idx="2"/>
            </p:cNvCxnSpPr>
            <p:nvPr/>
          </p:nvCxnSpPr>
          <p:spPr>
            <a:xfrm>
              <a:off x="8388421" y="1552685"/>
              <a:ext cx="0" cy="2897395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55B3ABC-2C2F-F58F-5C15-C7C2E8D42B2F}"/>
                </a:ext>
              </a:extLst>
            </p:cNvPr>
            <p:cNvCxnSpPr>
              <a:cxnSpLocks/>
              <a:stCxn id="5" idx="2"/>
            </p:cNvCxnSpPr>
            <p:nvPr/>
          </p:nvCxnSpPr>
          <p:spPr>
            <a:xfrm>
              <a:off x="6241402" y="1552685"/>
              <a:ext cx="0" cy="2897395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07D04BD-CE2D-75BC-4B71-3008704D1270}"/>
                </a:ext>
              </a:extLst>
            </p:cNvPr>
            <p:cNvCxnSpPr>
              <a:cxnSpLocks/>
              <a:stCxn id="11" idx="2"/>
            </p:cNvCxnSpPr>
            <p:nvPr/>
          </p:nvCxnSpPr>
          <p:spPr>
            <a:xfrm>
              <a:off x="5164140" y="1552685"/>
              <a:ext cx="0" cy="2897395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Arrow: Left 17">
              <a:extLst>
                <a:ext uri="{FF2B5EF4-FFF2-40B4-BE49-F238E27FC236}">
                  <a16:creationId xmlns:a16="http://schemas.microsoft.com/office/drawing/2014/main" id="{2CA8867F-D30B-A193-0551-5883F10E35FC}"/>
                </a:ext>
              </a:extLst>
            </p:cNvPr>
            <p:cNvSpPr/>
            <p:nvPr/>
          </p:nvSpPr>
          <p:spPr>
            <a:xfrm>
              <a:off x="5171645" y="3233865"/>
              <a:ext cx="1069757" cy="524434"/>
            </a:xfrm>
            <a:prstGeom prst="lef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/>
                <a:t>Remove </a:t>
              </a:r>
              <a:r>
                <a:rPr lang="de-DE" sz="900" dirty="0" err="1"/>
                <a:t>the</a:t>
              </a:r>
              <a:r>
                <a:rPr lang="de-DE" sz="900" dirty="0"/>
                <a:t> File</a:t>
              </a:r>
            </a:p>
          </p:txBody>
        </p:sp>
        <p:sp>
          <p:nvSpPr>
            <p:cNvPr id="20" name="Arrow: Right 19">
              <a:extLst>
                <a:ext uri="{FF2B5EF4-FFF2-40B4-BE49-F238E27FC236}">
                  <a16:creationId xmlns:a16="http://schemas.microsoft.com/office/drawing/2014/main" id="{693101A2-0708-260D-2857-E74E3C6AE92F}"/>
                </a:ext>
              </a:extLst>
            </p:cNvPr>
            <p:cNvSpPr/>
            <p:nvPr/>
          </p:nvSpPr>
          <p:spPr>
            <a:xfrm>
              <a:off x="6241402" y="2303170"/>
              <a:ext cx="1069757" cy="524434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/>
                <a:t>Edit </a:t>
              </a:r>
              <a:r>
                <a:rPr lang="de-DE" sz="1100" dirty="0" err="1"/>
                <a:t>the</a:t>
              </a:r>
              <a:r>
                <a:rPr lang="de-DE" sz="1100" dirty="0"/>
                <a:t> Fil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E93DC3A-90C5-0E0D-01CE-3A17377285B2}"/>
                </a:ext>
              </a:extLst>
            </p:cNvPr>
            <p:cNvSpPr/>
            <p:nvPr/>
          </p:nvSpPr>
          <p:spPr>
            <a:xfrm>
              <a:off x="6839723" y="1239917"/>
              <a:ext cx="957880" cy="3127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/>
                <a:t>Modified</a:t>
              </a:r>
              <a:endParaRPr lang="de-DE" sz="1200" dirty="0"/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B911794-BC48-6DCA-F468-A72560B26ABC}"/>
                </a:ext>
              </a:extLst>
            </p:cNvPr>
            <p:cNvCxnSpPr>
              <a:cxnSpLocks/>
              <a:stCxn id="21" idx="2"/>
            </p:cNvCxnSpPr>
            <p:nvPr/>
          </p:nvCxnSpPr>
          <p:spPr>
            <a:xfrm>
              <a:off x="7318663" y="1552684"/>
              <a:ext cx="0" cy="2897396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3" name="Arrow: Right 52">
              <a:extLst>
                <a:ext uri="{FF2B5EF4-FFF2-40B4-BE49-F238E27FC236}">
                  <a16:creationId xmlns:a16="http://schemas.microsoft.com/office/drawing/2014/main" id="{8EA9E204-BD82-FDB8-B33A-9CDA7FCEFFC6}"/>
                </a:ext>
              </a:extLst>
            </p:cNvPr>
            <p:cNvSpPr/>
            <p:nvPr/>
          </p:nvSpPr>
          <p:spPr>
            <a:xfrm>
              <a:off x="7318663" y="2792348"/>
              <a:ext cx="1062254" cy="524434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/>
                <a:t>Stage </a:t>
              </a:r>
              <a:r>
                <a:rPr lang="de-DE" sz="1000" dirty="0" err="1"/>
                <a:t>the</a:t>
              </a:r>
              <a:r>
                <a:rPr lang="de-DE" sz="1000" dirty="0"/>
                <a:t> File</a:t>
              </a:r>
            </a:p>
          </p:txBody>
        </p:sp>
        <p:sp>
          <p:nvSpPr>
            <p:cNvPr id="56" name="Arrow: Left 55">
              <a:extLst>
                <a:ext uri="{FF2B5EF4-FFF2-40B4-BE49-F238E27FC236}">
                  <a16:creationId xmlns:a16="http://schemas.microsoft.com/office/drawing/2014/main" id="{2530C242-FC08-1E3E-2E89-BE0D2C762412}"/>
                </a:ext>
              </a:extLst>
            </p:cNvPr>
            <p:cNvSpPr/>
            <p:nvPr/>
          </p:nvSpPr>
          <p:spPr>
            <a:xfrm>
              <a:off x="6241402" y="3803254"/>
              <a:ext cx="2147019" cy="524434"/>
            </a:xfrm>
            <a:prstGeom prst="lef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/>
                <a:t>Commit</a:t>
              </a:r>
            </a:p>
          </p:txBody>
        </p:sp>
        <p:sp>
          <p:nvSpPr>
            <p:cNvPr id="19" name="Arrow: Right 18">
              <a:extLst>
                <a:ext uri="{FF2B5EF4-FFF2-40B4-BE49-F238E27FC236}">
                  <a16:creationId xmlns:a16="http://schemas.microsoft.com/office/drawing/2014/main" id="{0A26D9AB-D75D-D163-2680-DEEB97F153E6}"/>
                </a:ext>
              </a:extLst>
            </p:cNvPr>
            <p:cNvSpPr/>
            <p:nvPr/>
          </p:nvSpPr>
          <p:spPr>
            <a:xfrm>
              <a:off x="5164141" y="1688193"/>
              <a:ext cx="3224280" cy="524434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/>
                <a:t>Add </a:t>
              </a:r>
              <a:r>
                <a:rPr lang="de-DE" sz="1400" dirty="0" err="1"/>
                <a:t>the</a:t>
              </a:r>
              <a:r>
                <a:rPr lang="de-DE" sz="1400" dirty="0"/>
                <a:t> F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3396511"/>
      </p:ext>
    </p:extLst>
  </p:cSld>
  <p:clrMapOvr>
    <a:masterClrMapping/>
  </p:clrMapOvr>
  <p:transition spd="slow" advClick="0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0995F1-C515-C5BF-8C02-FC6029F19B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794411"/>
            <a:ext cx="4244254" cy="539986"/>
          </a:xfrm>
        </p:spPr>
        <p:txBody>
          <a:bodyPr/>
          <a:lstStyle/>
          <a:p>
            <a:r>
              <a:rPr lang="de-DE" b="1" dirty="0" err="1">
                <a:latin typeface="Consolas" panose="020B0609020204030204" pitchFamily="49" charset="0"/>
              </a:rPr>
              <a:t>git</a:t>
            </a:r>
            <a:r>
              <a:rPr lang="de-DE" b="1" dirty="0">
                <a:latin typeface="Consolas" panose="020B0609020204030204" pitchFamily="49" charset="0"/>
              </a:rPr>
              <a:t> </a:t>
            </a:r>
            <a:r>
              <a:rPr lang="de-DE" b="1" dirty="0" err="1">
                <a:latin typeface="Consolas" panose="020B0609020204030204" pitchFamily="49" charset="0"/>
              </a:rPr>
              <a:t>commit</a:t>
            </a:r>
            <a:endParaRPr lang="de-DE" b="1" dirty="0">
              <a:latin typeface="Consolas" panose="020B0609020204030204" pitchFamily="49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266FAE3-C1D5-0B02-6E78-8192EA7EBC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43913" y="789664"/>
            <a:ext cx="4149263" cy="539986"/>
          </a:xfrm>
        </p:spPr>
        <p:txBody>
          <a:bodyPr/>
          <a:lstStyle/>
          <a:p>
            <a:r>
              <a:rPr lang="de-DE" b="1" dirty="0" err="1">
                <a:latin typeface="Consolas" panose="020B0609020204030204" pitchFamily="49" charset="0"/>
              </a:rPr>
              <a:t>git</a:t>
            </a:r>
            <a:r>
              <a:rPr lang="de-DE" b="1" dirty="0">
                <a:latin typeface="Consolas" panose="020B0609020204030204" pitchFamily="49" charset="0"/>
              </a:rPr>
              <a:t> lo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A255B0-F46A-39FA-860F-70B8BEF34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385452"/>
          </a:xfrm>
        </p:spPr>
        <p:txBody>
          <a:bodyPr/>
          <a:lstStyle/>
          <a:p>
            <a:r>
              <a:rPr lang="de-DE" dirty="0" err="1"/>
              <a:t>Commits</a:t>
            </a:r>
            <a:r>
              <a:rPr lang="de-DE" dirty="0"/>
              <a:t> and </a:t>
            </a:r>
            <a:r>
              <a:rPr lang="de-DE" dirty="0" err="1"/>
              <a:t>History</a:t>
            </a:r>
            <a:endParaRPr lang="de-DE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C6D1AD7-369F-18BA-E2C1-49E04ED1A7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23F094F-6533-51E7-A598-70D54FCC92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95CE8797-3AD0-ECAB-4A81-BC2D09F2D66D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17962" y="1329650"/>
            <a:ext cx="4149263" cy="3265841"/>
          </a:xfrm>
        </p:spPr>
        <p:txBody>
          <a:bodyPr/>
          <a:lstStyle/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commit -m "Initial commit"</a:t>
            </a:r>
            <a:br>
              <a:rPr lang="en-US" dirty="0"/>
            </a:br>
            <a:r>
              <a:rPr lang="en-US" dirty="0"/>
              <a:t>Creates a new commit with a message "Initial commit."</a:t>
            </a: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commit -a -m "Update readme file"</a:t>
            </a:r>
            <a:br>
              <a:rPr lang="en-US" dirty="0"/>
            </a:br>
            <a:r>
              <a:rPr lang="en-US" dirty="0"/>
              <a:t>Stages all modified files and commits them with the message "Updated readme file."</a:t>
            </a: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commit --amend -m "Updated readme and added new section"</a:t>
            </a:r>
            <a:br>
              <a:rPr lang="en-US" dirty="0"/>
            </a:br>
            <a:r>
              <a:rPr lang="en-US" dirty="0"/>
              <a:t>Edits the previous commit to include additional changes with a new message.</a:t>
            </a: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commit --no-edit --amend</a:t>
            </a:r>
            <a:br>
              <a:rPr lang="en-US" dirty="0"/>
            </a:br>
            <a:r>
              <a:rPr lang="en-US" dirty="0"/>
              <a:t>Updates the last commit without changing the commit message.</a:t>
            </a:r>
            <a:endParaRPr lang="de-DE" dirty="0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C3BCEB00-8154-71E7-2B4E-982037246B7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743913" y="1334397"/>
            <a:ext cx="4149263" cy="3266848"/>
          </a:xfrm>
        </p:spPr>
        <p:txBody>
          <a:bodyPr/>
          <a:lstStyle/>
          <a:p>
            <a:r>
              <a:rPr lang="de-DE" dirty="0" err="1">
                <a:highlight>
                  <a:srgbClr val="CCEBD8"/>
                </a:highlight>
                <a:latin typeface="Consolas" panose="020B0609020204030204" pitchFamily="49" charset="0"/>
              </a:rPr>
              <a:t>git</a:t>
            </a:r>
            <a:r>
              <a:rPr lang="de-DE" dirty="0">
                <a:highlight>
                  <a:srgbClr val="CCEBD8"/>
                </a:highlight>
                <a:latin typeface="Consolas" panose="020B0609020204030204" pitchFamily="49" charset="0"/>
              </a:rPr>
              <a:t> log</a:t>
            </a:r>
            <a:br>
              <a:rPr lang="de-DE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r>
              <a:rPr lang="en-US" dirty="0"/>
              <a:t>Shows a list of all commits in the repository.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commit 332bbb43dd615515985a5b9 (HEAD -&gt; main)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Author: Wolfgang Moser </a:t>
            </a:r>
            <a:r>
              <a:rPr lang="en-US" sz="1000" dirty="0">
                <a:latin typeface="Consolas" panose="020B0609020204030204" pitchFamily="49" charset="0"/>
                <a:hlinkClick r:id="rId2"/>
              </a:rPr>
              <a:t>wolfgang.moser@woodmark.de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Date:   Tue Oct 1 11:35:20 2024 +0200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    Initial commit</a:t>
            </a: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log --</a:t>
            </a:r>
            <a:r>
              <a:rPr lang="en-US" dirty="0" err="1">
                <a:highlight>
                  <a:srgbClr val="CCEBD8"/>
                </a:highlight>
                <a:latin typeface="Consolas" panose="020B0609020204030204" pitchFamily="49" charset="0"/>
              </a:rPr>
              <a:t>oneline</a:t>
            </a:r>
            <a:b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r>
              <a:rPr lang="en-US" dirty="0"/>
              <a:t>Displays a concise one-line version of the log.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5e30cf7 (HEAD -&gt; main) Update readme file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332bbb4 Initial commit</a:t>
            </a: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log –p</a:t>
            </a:r>
            <a:b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r>
              <a:rPr lang="en-US" dirty="0"/>
              <a:t>Shows the commit history along with the diff for each commit.</a:t>
            </a:r>
            <a:endParaRPr lang="en-US" dirty="0">
              <a:highlight>
                <a:srgbClr val="CCEBD8"/>
              </a:highlight>
              <a:latin typeface="Consolas" panose="020B0609020204030204" pitchFamily="49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0706087-0139-7CE1-525C-BC3FB9B4F7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FD632A-4415-02FD-AFED-DC72436595C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3EB084C-BBD6-46A7-958D-B29ED42EFBB3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B6D981-58E6-B522-D95B-BC92FA5266F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5E311B-5F6A-AA1B-4F3A-A8B6CA438C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3828704"/>
      </p:ext>
    </p:extLst>
  </p:cSld>
  <p:clrMapOvr>
    <a:masterClrMapping/>
  </p:clrMapOvr>
  <p:transition spd="slow" advClick="0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255B0-F46A-39FA-860F-70B8BEF34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gnore</a:t>
            </a:r>
            <a:r>
              <a:rPr lang="de-DE" dirty="0"/>
              <a:t>, </a:t>
            </a:r>
            <a:r>
              <a:rPr lang="de-DE" dirty="0" err="1"/>
              <a:t>Reset</a:t>
            </a:r>
            <a:r>
              <a:rPr lang="de-DE" dirty="0"/>
              <a:t>, </a:t>
            </a:r>
            <a:r>
              <a:rPr lang="de-DE" dirty="0" err="1"/>
              <a:t>Unmodify</a:t>
            </a:r>
            <a:endParaRPr lang="de-DE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95CE8797-3AD0-ECAB-4A81-BC2D09F2D6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ignore &lt;pattern&gt;</a:t>
            </a:r>
            <a:b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r>
              <a:rPr lang="en-US" dirty="0"/>
              <a:t>Writes the pattern into the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.</a:t>
            </a:r>
            <a:r>
              <a:rPr lang="en-US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gitignore</a:t>
            </a:r>
            <a:r>
              <a:rPr lang="en-US" dirty="0"/>
              <a:t> file which specifies files and directories to be ignored by Git.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# Ignore all .log files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*.log</a:t>
            </a:r>
          </a:p>
          <a:p>
            <a:endParaRPr lang="en-US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reset --soft &lt;commit&gt;</a:t>
            </a:r>
            <a:b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r>
              <a:rPr lang="en-US" dirty="0"/>
              <a:t>Resets the commit history but keeps changes staged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Example: </a:t>
            </a:r>
            <a:r>
              <a:rPr lang="en-US" sz="1200" dirty="0">
                <a:highlight>
                  <a:srgbClr val="CCEBD8"/>
                </a:highlight>
                <a:latin typeface="Consolas" panose="020B0609020204030204" pitchFamily="49" charset="0"/>
              </a:rPr>
              <a:t>git reset --soft HEAD~1</a:t>
            </a:r>
            <a:br>
              <a:rPr lang="en-US" sz="1200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endParaRPr lang="en-US" sz="12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reset --hard &lt;commit&gt;</a:t>
            </a:r>
            <a:b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r>
              <a:rPr lang="en-US" dirty="0"/>
              <a:t>Resets the commit history, working directory, and staging area (</a:t>
            </a:r>
            <a:r>
              <a:rPr lang="en-US" dirty="0">
                <a:solidFill>
                  <a:schemeClr val="accent6"/>
                </a:solidFill>
              </a:rPr>
              <a:t>dangerous</a:t>
            </a:r>
            <a:r>
              <a:rPr lang="en-US" dirty="0"/>
              <a:t> – undoes all changes).</a:t>
            </a:r>
          </a:p>
          <a:p>
            <a:pPr marL="0" indent="0">
              <a:buNone/>
            </a:pPr>
            <a:br>
              <a:rPr lang="en-US" dirty="0"/>
            </a:b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266FAE3-C1D5-0B02-6E78-8192EA7EBC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b="1" dirty="0">
              <a:latin typeface="Consolas" panose="020B0609020204030204" pitchFamily="49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0706087-0139-7CE1-525C-BC3FB9B4F7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0995F1-C515-C5BF-8C02-FC6029F19B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>
                <a:latin typeface="Roboto Slab Regular (Headings)"/>
              </a:rPr>
              <a:t> </a:t>
            </a:r>
            <a:r>
              <a:rPr lang="de-DE" dirty="0"/>
              <a:t>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FD632A-4415-02FD-AFED-DC72436595C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44D4684-15BB-4AF9-BFC1-6C07FDD3696C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B6D981-58E6-B522-D95B-BC92FA5266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5E311B-5F6A-AA1B-4F3A-A8B6CA438C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8257042"/>
      </p:ext>
    </p:extLst>
  </p:cSld>
  <p:clrMapOvr>
    <a:masterClrMapping/>
  </p:clrMapOvr>
  <p:transition spd="slow" advClick="0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AD3D6C00-6D6B-DBD7-3FA3-A4C5EBFA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b #1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9CC4F145-4BBD-311A-665F-07CFD22642C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Follow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eps</a:t>
            </a:r>
            <a:r>
              <a:rPr lang="de-DE" dirty="0"/>
              <a:t> on </a:t>
            </a:r>
            <a:r>
              <a:rPr lang="de-DE" dirty="0">
                <a:hlinkClick r:id="rId3"/>
              </a:rPr>
              <a:t>https://gitimmersion.com/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Finish:</a:t>
            </a:r>
          </a:p>
          <a:p>
            <a:r>
              <a:rPr lang="de-DE" dirty="0"/>
              <a:t>Labs 3-10</a:t>
            </a:r>
          </a:p>
          <a:p>
            <a:r>
              <a:rPr lang="de-DE" dirty="0"/>
              <a:t>Labs 14-15 (</a:t>
            </a:r>
            <a:r>
              <a:rPr lang="de-DE" dirty="0" err="1">
                <a:latin typeface="Consolas" panose="020B0609020204030204" pitchFamily="49" charset="0"/>
              </a:rPr>
              <a:t>git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hist</a:t>
            </a:r>
            <a:r>
              <a:rPr lang="de-DE" dirty="0">
                <a:latin typeface="Consolas" panose="020B0609020204030204" pitchFamily="49" charset="0"/>
              </a:rPr>
              <a:t> ~= </a:t>
            </a:r>
            <a:r>
              <a:rPr lang="de-DE" dirty="0" err="1">
                <a:latin typeface="Consolas" panose="020B0609020204030204" pitchFamily="49" charset="0"/>
              </a:rPr>
              <a:t>git</a:t>
            </a:r>
            <a:r>
              <a:rPr lang="de-DE" dirty="0">
                <a:latin typeface="Consolas" panose="020B0609020204030204" pitchFamily="49" charset="0"/>
              </a:rPr>
              <a:t> log –-</a:t>
            </a:r>
            <a:r>
              <a:rPr lang="de-DE" dirty="0" err="1">
                <a:latin typeface="Consolas" panose="020B0609020204030204" pitchFamily="49" charset="0"/>
              </a:rPr>
              <a:t>oneline</a:t>
            </a:r>
            <a:r>
              <a:rPr lang="de-DE" dirty="0"/>
              <a:t>)</a:t>
            </a:r>
          </a:p>
          <a:p>
            <a:r>
              <a:rPr lang="de-DE" dirty="0"/>
              <a:t>Labs 19-20</a:t>
            </a:r>
          </a:p>
          <a:p>
            <a:r>
              <a:rPr lang="de-DE" dirty="0"/>
              <a:t>Bonus: Lab 22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0930DF2-410C-F8A5-C371-8762B1F7DA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136B862-B171-9F00-E5F3-D6407E80F5A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3B1D05A-C660-47EA-8D6F-FCF34D7EFD5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FDD664-5A87-8964-E7AF-C8918D078C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964E07-2F20-FA8C-1995-5AA8C86ED6F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0886512"/>
      </p:ext>
    </p:extLst>
  </p:cSld>
  <p:clrMapOvr>
    <a:masterClrMapping/>
  </p:clrMapOvr>
  <p:transition spd="slow" advClick="0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255B0-F46A-39FA-860F-70B8BEF34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motes</a:t>
            </a:r>
            <a:endParaRPr lang="de-DE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95CE8797-3AD0-ECAB-4A81-BC2D09F2D6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060450"/>
            <a:ext cx="5403470" cy="3539788"/>
          </a:xfrm>
        </p:spPr>
        <p:txBody>
          <a:bodyPr/>
          <a:lstStyle/>
          <a:p>
            <a:r>
              <a:rPr lang="en-US" dirty="0"/>
              <a:t>For collaboration, we need remote repositories</a:t>
            </a:r>
          </a:p>
          <a:p>
            <a:r>
              <a:rPr lang="en-US" dirty="0"/>
              <a:t>Remote </a:t>
            </a:r>
            <a:r>
              <a:rPr lang="en-US" dirty="0" err="1"/>
              <a:t>respositories</a:t>
            </a:r>
            <a:r>
              <a:rPr lang="en-US" dirty="0"/>
              <a:t> are project versions that are hosted online (several are possible!)</a:t>
            </a:r>
          </a:p>
          <a:p>
            <a:r>
              <a:rPr lang="en-US" dirty="0"/>
              <a:t>Collaboration happens through pushing and pulling changes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remote –v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origin  </a:t>
            </a:r>
            <a:r>
              <a:rPr lang="en-US" sz="1000" dirty="0" err="1">
                <a:latin typeface="Consolas" panose="020B0609020204030204" pitchFamily="49" charset="0"/>
              </a:rPr>
              <a:t>git@github.com:git</a:t>
            </a:r>
            <a:r>
              <a:rPr lang="en-US" sz="1000" dirty="0">
                <a:latin typeface="Consolas" panose="020B0609020204030204" pitchFamily="49" charset="0"/>
              </a:rPr>
              <a:t>/</a:t>
            </a:r>
            <a:r>
              <a:rPr lang="en-US" sz="1000" dirty="0" err="1">
                <a:latin typeface="Consolas" panose="020B0609020204030204" pitchFamily="49" charset="0"/>
              </a:rPr>
              <a:t>git.git</a:t>
            </a:r>
            <a:r>
              <a:rPr lang="en-US" sz="1000" dirty="0">
                <a:latin typeface="Consolas" panose="020B0609020204030204" pitchFamily="49" charset="0"/>
              </a:rPr>
              <a:t> (fetch)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origin  </a:t>
            </a:r>
            <a:r>
              <a:rPr lang="en-US" sz="1000" dirty="0" err="1">
                <a:latin typeface="Consolas" panose="020B0609020204030204" pitchFamily="49" charset="0"/>
              </a:rPr>
              <a:t>git@github.com:git</a:t>
            </a:r>
            <a:r>
              <a:rPr lang="en-US" sz="1000" dirty="0">
                <a:latin typeface="Consolas" panose="020B0609020204030204" pitchFamily="49" charset="0"/>
              </a:rPr>
              <a:t>/</a:t>
            </a:r>
            <a:r>
              <a:rPr lang="en-US" sz="1000" dirty="0" err="1">
                <a:latin typeface="Consolas" panose="020B0609020204030204" pitchFamily="49" charset="0"/>
              </a:rPr>
              <a:t>git.git</a:t>
            </a:r>
            <a:r>
              <a:rPr lang="en-US" sz="1000" dirty="0">
                <a:latin typeface="Consolas" panose="020B0609020204030204" pitchFamily="49" charset="0"/>
              </a:rPr>
              <a:t> (push)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remote add kernel.org \</a:t>
            </a:r>
            <a:b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  </a:t>
            </a:r>
            <a:r>
              <a:rPr lang="de-DE" dirty="0">
                <a:highlight>
                  <a:srgbClr val="CCEBD8"/>
                </a:highlight>
                <a:latin typeface="Consolas" panose="020B0609020204030204" pitchFamily="49" charset="0"/>
              </a:rPr>
              <a:t>git://git.kernel.org/pub/scm/git/git.git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remote –v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origin  </a:t>
            </a:r>
            <a:r>
              <a:rPr lang="en-US" sz="1000" dirty="0" err="1">
                <a:latin typeface="Consolas" panose="020B0609020204030204" pitchFamily="49" charset="0"/>
              </a:rPr>
              <a:t>git@github.com:git</a:t>
            </a:r>
            <a:r>
              <a:rPr lang="en-US" sz="1000" dirty="0">
                <a:latin typeface="Consolas" panose="020B0609020204030204" pitchFamily="49" charset="0"/>
              </a:rPr>
              <a:t>/</a:t>
            </a:r>
            <a:r>
              <a:rPr lang="en-US" sz="1000" dirty="0" err="1">
                <a:latin typeface="Consolas" panose="020B0609020204030204" pitchFamily="49" charset="0"/>
              </a:rPr>
              <a:t>git.git</a:t>
            </a:r>
            <a:r>
              <a:rPr lang="en-US" sz="1000" dirty="0">
                <a:latin typeface="Consolas" panose="020B0609020204030204" pitchFamily="49" charset="0"/>
              </a:rPr>
              <a:t> (fetch)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origin  </a:t>
            </a:r>
            <a:r>
              <a:rPr lang="en-US" sz="1000" dirty="0" err="1">
                <a:latin typeface="Consolas" panose="020B0609020204030204" pitchFamily="49" charset="0"/>
              </a:rPr>
              <a:t>git@github.com:git</a:t>
            </a:r>
            <a:r>
              <a:rPr lang="en-US" sz="1000" dirty="0">
                <a:latin typeface="Consolas" panose="020B0609020204030204" pitchFamily="49" charset="0"/>
              </a:rPr>
              <a:t>/</a:t>
            </a:r>
            <a:r>
              <a:rPr lang="en-US" sz="1000" dirty="0" err="1">
                <a:latin typeface="Consolas" panose="020B0609020204030204" pitchFamily="49" charset="0"/>
              </a:rPr>
              <a:t>git.git</a:t>
            </a:r>
            <a:r>
              <a:rPr lang="en-US" sz="1000" dirty="0">
                <a:latin typeface="Consolas" panose="020B0609020204030204" pitchFamily="49" charset="0"/>
              </a:rPr>
              <a:t> (push)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kernel.org      git://git.kernel.org/pub/scm/git/git.git (fetch)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kernel.org      git://git.kernel.org/pub/scm/git/git.git (push)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266FAE3-C1D5-0B02-6E78-8192EA7EBC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b="1" dirty="0">
              <a:latin typeface="Consolas" panose="020B0609020204030204" pitchFamily="49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0706087-0139-7CE1-525C-BC3FB9B4F7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0995F1-C515-C5BF-8C02-FC6029F19B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>
                <a:latin typeface="Roboto Slab Regular (Headings)"/>
              </a:rPr>
              <a:t> </a:t>
            </a:r>
            <a:r>
              <a:rPr lang="de-DE" dirty="0"/>
              <a:t>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FD632A-4415-02FD-AFED-DC72436595C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1D05F3C-CF12-4E10-89DC-6855CA75493B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B6D981-58E6-B522-D95B-BC92FA5266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5E311B-5F6A-AA1B-4F3A-A8B6CA438C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4" name="Content Placeholder 20">
            <a:extLst>
              <a:ext uri="{FF2B5EF4-FFF2-40B4-BE49-F238E27FC236}">
                <a16:creationId xmlns:a16="http://schemas.microsoft.com/office/drawing/2014/main" id="{0AEE8352-4C39-17AE-5594-94CC04BBFE06}"/>
              </a:ext>
            </a:extLst>
          </p:cNvPr>
          <p:cNvSpPr txBox="1">
            <a:spLocks/>
          </p:cNvSpPr>
          <p:nvPr/>
        </p:nvSpPr>
        <p:spPr>
          <a:xfrm>
            <a:off x="5798908" y="1060448"/>
            <a:ext cx="3093092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3pPr>
            <a:lvl4pPr marL="719138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4pPr>
            <a:lvl5pPr marL="712788" indent="-1698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remote show origin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* remote origin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Fetch URL: git@github.com:git/</a:t>
            </a:r>
            <a:r>
              <a:rPr lang="en-US" sz="1000" dirty="0" err="1">
                <a:latin typeface="Consolas" panose="020B0609020204030204" pitchFamily="49" charset="0"/>
              </a:rPr>
              <a:t>git.git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Push  URL: git@github.com:git/</a:t>
            </a:r>
            <a:r>
              <a:rPr lang="en-US" sz="1000" dirty="0" err="1">
                <a:latin typeface="Consolas" panose="020B0609020204030204" pitchFamily="49" charset="0"/>
              </a:rPr>
              <a:t>git.git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HEAD branch: main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Remote branches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main                tracked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Local branches configured for 'git pull’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main merges with remote main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Local refs configured for 'git push’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main   pushes to main   (up to date)</a:t>
            </a:r>
          </a:p>
        </p:txBody>
      </p:sp>
    </p:spTree>
    <p:extLst>
      <p:ext uri="{BB962C8B-B14F-4D97-AF65-F5344CB8AC3E}">
        <p14:creationId xmlns:p14="http://schemas.microsoft.com/office/powerpoint/2010/main" val="2666412992"/>
      </p:ext>
    </p:extLst>
  </p:cSld>
  <p:clrMapOvr>
    <a:masterClrMapping/>
  </p:clrMapOvr>
  <p:transition spd="slow" advClick="0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255B0-F46A-39FA-860F-70B8BEF34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etch</a:t>
            </a:r>
            <a:r>
              <a:rPr lang="de-DE" dirty="0"/>
              <a:t>, Pull &amp; Push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95CE8797-3AD0-ECAB-4A81-BC2D09F2D6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o fetch all the data from a remote that isn’t available locally yet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fetch [&lt;remote&gt;]</a:t>
            </a:r>
          </a:p>
          <a:p>
            <a:pPr marL="0" indent="0">
              <a:buNone/>
            </a:pPr>
            <a:r>
              <a:rPr lang="en-US" dirty="0"/>
              <a:t>Only downloads the data to your local repository — it doesn’t automatically merge it!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o automatically fetch and merge (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merge</a:t>
            </a:r>
            <a:r>
              <a:rPr lang="en-US" dirty="0"/>
              <a:t>) the remote branch into your current branch, use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pull [&lt;remote&gt;]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o share your changes with others, you have to push it upstream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push &lt;remote&gt; &lt;branch&gt;</a:t>
            </a:r>
          </a:p>
          <a:p>
            <a:pPr marL="0" indent="0">
              <a:buNone/>
            </a:pPr>
            <a:r>
              <a:rPr lang="en-US" dirty="0"/>
              <a:t>Only works if you have write access and if nobody has pushed in the meantime.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266FAE3-C1D5-0B02-6E78-8192EA7EBC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b="1" dirty="0">
              <a:latin typeface="Consolas" panose="020B0609020204030204" pitchFamily="49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0706087-0139-7CE1-525C-BC3FB9B4F7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0995F1-C515-C5BF-8C02-FC6029F19B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>
                <a:latin typeface="Roboto Slab Regular (Headings)"/>
              </a:rPr>
              <a:t> </a:t>
            </a:r>
            <a:r>
              <a:rPr lang="de-DE" dirty="0"/>
              <a:t>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FD632A-4415-02FD-AFED-DC72436595C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0B4B4E-CE18-4E32-A124-1641D7184164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B6D981-58E6-B522-D95B-BC92FA5266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5E311B-5F6A-AA1B-4F3A-A8B6CA438C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4656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E966CD-1994-E3CC-C81D-982C087BE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lfgang Moser</a:t>
            </a:r>
            <a:br>
              <a:rPr lang="de-DE" dirty="0"/>
            </a:br>
            <a:r>
              <a:rPr lang="de-DE" sz="1400" dirty="0">
                <a:solidFill>
                  <a:schemeClr val="tx1"/>
                </a:solidFill>
              </a:rPr>
              <a:t>Solution </a:t>
            </a:r>
            <a:r>
              <a:rPr lang="de-DE" sz="1400" dirty="0" err="1">
                <a:solidFill>
                  <a:schemeClr val="tx1"/>
                </a:solidFill>
              </a:rPr>
              <a:t>Architect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9" name="Content Placeholder 8" descr="A person in a suit&#10;&#10;Description automatically generated">
            <a:extLst>
              <a:ext uri="{FF2B5EF4-FFF2-40B4-BE49-F238E27FC236}">
                <a16:creationId xmlns:a16="http://schemas.microsoft.com/office/drawing/2014/main" id="{A0958532-53F8-2E8B-D9B3-D7CEDEF5885E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866899" y="1587175"/>
            <a:ext cx="1515249" cy="22448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A650BA-37DD-B2FC-E002-E870076A4F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E4E292-4925-4056-D669-797A476DE9B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EB71533-40C3-450B-A36B-B6B6276E051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E3F05A-44DE-1ECF-61EB-69A82C35895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A84B05-2D4B-6616-745F-5139BCFB4B4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B93E05-299F-53AA-BF7F-CB23C75ECB05}"/>
              </a:ext>
            </a:extLst>
          </p:cNvPr>
          <p:cNvSpPr txBox="1"/>
          <p:nvPr/>
        </p:nvSpPr>
        <p:spPr>
          <a:xfrm>
            <a:off x="3494868" y="1409265"/>
            <a:ext cx="3316637" cy="2957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7 </a:t>
            </a:r>
            <a:r>
              <a:rPr lang="de-DE" dirty="0" err="1"/>
              <a:t>years</a:t>
            </a:r>
            <a:r>
              <a:rPr lang="de-DE" dirty="0"/>
              <a:t> at Woodma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Studied</a:t>
            </a:r>
            <a:r>
              <a:rPr lang="de-DE" dirty="0"/>
              <a:t> Physic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Expertise in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Software Developmen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Data Engineering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Cloud </a:t>
            </a:r>
            <a:r>
              <a:rPr lang="de-DE" dirty="0" err="1"/>
              <a:t>Architectures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8261148"/>
      </p:ext>
    </p:extLst>
  </p:cSld>
  <p:clrMapOvr>
    <a:masterClrMapping/>
  </p:clrMapOvr>
  <p:transition spd="slow" advClick="0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255B0-F46A-39FA-860F-70B8BEF34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gging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95CE8797-3AD0-ECAB-4A81-BC2D09F2D6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ag specific points in a repository’s history, e.g. to mark release points (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v1.0</a:t>
            </a:r>
            <a:r>
              <a:rPr lang="en-US" dirty="0"/>
              <a:t>, 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v2.0</a:t>
            </a:r>
            <a:r>
              <a:rPr lang="en-US" dirty="0"/>
              <a:t>)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tag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v1.0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v2.0</a:t>
            </a:r>
          </a:p>
          <a:p>
            <a:pPr marL="0" indent="0">
              <a:buNone/>
            </a:pPr>
            <a:r>
              <a:rPr lang="en-US" dirty="0"/>
              <a:t>Create a tag on the current commit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tag -a v2.1 -m "My Version 2.1“</a:t>
            </a:r>
          </a:p>
          <a:p>
            <a:pPr marL="0" indent="0">
              <a:buNone/>
            </a:pPr>
            <a:r>
              <a:rPr lang="en-US" dirty="0"/>
              <a:t>Or on any commit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tag -a v2.2 &lt;</a:t>
            </a:r>
            <a:r>
              <a:rPr lang="de-DE" dirty="0" err="1">
                <a:highlight>
                  <a:srgbClr val="CCEBD8"/>
                </a:highlight>
                <a:latin typeface="Consolas" panose="020B0609020204030204" pitchFamily="49" charset="0"/>
              </a:rPr>
              <a:t>commit-checksum</a:t>
            </a:r>
            <a:r>
              <a:rPr lang="de-DE" dirty="0">
                <a:highlight>
                  <a:srgbClr val="CCEBD8"/>
                </a:highlight>
                <a:latin typeface="Consolas" panose="020B0609020204030204" pitchFamily="49" charset="0"/>
              </a:rPr>
              <a:t>&gt;</a:t>
            </a:r>
            <a:endParaRPr lang="en-US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dirty="0"/>
              <a:t>Sharing tags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push origin --tags</a:t>
            </a:r>
          </a:p>
          <a:p>
            <a:pPr marL="0" indent="0">
              <a:buNone/>
            </a:pPr>
            <a:r>
              <a:rPr lang="en-US" dirty="0"/>
              <a:t>Deleting tags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tag -d &lt;tag-name&gt;</a:t>
            </a:r>
          </a:p>
          <a:p>
            <a:pPr marL="0" indent="0">
              <a:buNone/>
            </a:pPr>
            <a:endParaRPr lang="en-US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14E4DCA-8F17-8C5A-6EDB-BDB659EEFBC2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See the tag data along with the commit that was tagged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show v2.1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tag v2.1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Tagger: Wolfgang Moser </a:t>
            </a:r>
            <a:r>
              <a:rPr lang="en-US" sz="1000" dirty="0">
                <a:latin typeface="Consolas" panose="020B0609020204030204" pitchFamily="49" charset="0"/>
                <a:hlinkClick r:id="rId3"/>
              </a:rPr>
              <a:t>wolfgang.moser@woodmark.de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Date:   Tue Oct 1 15:55:00 2024 +0200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My Version 2.1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commit 5e30cf7e8869ab87bfe2036fae36b916f0ec6a2d (HEAD -&gt; main, tag: v2.1, tag: v2.0, tag: v1.0)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Author: Wolfgang Moser </a:t>
            </a:r>
            <a:r>
              <a:rPr lang="en-US" sz="1000" dirty="0">
                <a:latin typeface="Consolas" panose="020B0609020204030204" pitchFamily="49" charset="0"/>
                <a:hlinkClick r:id="rId3"/>
              </a:rPr>
              <a:t>wolfgang.moser@woodmark.de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Date:   Tue Oct 1 11:39:09 2024 +0200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    Update readme file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diff --git a/README.md b/README.md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index 6632262..1f76d3a 100644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--- a/README.md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+++ b/README.md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@@ -1 +1,2 @@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My first commit.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+Another change.</a:t>
            </a:r>
          </a:p>
          <a:p>
            <a:pPr marL="0" indent="0">
              <a:buNone/>
            </a:pPr>
            <a:endParaRPr lang="en-US" sz="1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0995F1-C515-C5BF-8C02-FC6029F19B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>
                <a:latin typeface="Roboto Slab Regular (Headings)"/>
              </a:rPr>
              <a:t> </a:t>
            </a:r>
            <a:r>
              <a:rPr lang="de-DE" dirty="0"/>
              <a:t>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FD632A-4415-02FD-AFED-DC72436595C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C94E91B-A736-49C6-89C5-A6396D25B5E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B6D981-58E6-B522-D95B-BC92FA5266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5E311B-5F6A-AA1B-4F3A-A8B6CA438C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6621458"/>
      </p:ext>
    </p:extLst>
  </p:cSld>
  <p:clrMapOvr>
    <a:masterClrMapping/>
  </p:clrMapOvr>
  <p:transition spd="slow" advClick="0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AD3D6C00-6D6B-DBD7-3FA3-A4C5EBFA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b #2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9CC4F145-4BBD-311A-665F-07CFD22642C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Follow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eps</a:t>
            </a:r>
            <a:r>
              <a:rPr lang="de-DE" dirty="0"/>
              <a:t> on </a:t>
            </a:r>
            <a:r>
              <a:rPr lang="de-DE" dirty="0">
                <a:hlinkClick r:id="rId2"/>
              </a:rPr>
              <a:t>https://gitimmersion.com/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Finish:</a:t>
            </a:r>
          </a:p>
          <a:p>
            <a:r>
              <a:rPr lang="de-DE" dirty="0"/>
              <a:t>Lab 13</a:t>
            </a:r>
          </a:p>
          <a:p>
            <a:r>
              <a:rPr lang="de-DE" dirty="0"/>
              <a:t>Labs 36-39</a:t>
            </a:r>
          </a:p>
          <a:p>
            <a:r>
              <a:rPr lang="de-DE" dirty="0"/>
              <a:t>Labs 41-44</a:t>
            </a:r>
          </a:p>
          <a:p>
            <a:r>
              <a:rPr lang="de-DE" dirty="0"/>
              <a:t>Bonus:</a:t>
            </a:r>
          </a:p>
          <a:p>
            <a:pPr marL="0" indent="0">
              <a:buNone/>
            </a:pPr>
            <a:r>
              <a:rPr lang="de-DE" dirty="0"/>
              <a:t>Add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in</a:t>
            </a:r>
            <a:r>
              <a:rPr lang="de-DE" dirty="0"/>
              <a:t> and pull </a:t>
            </a:r>
            <a:r>
              <a:rPr lang="de-DE" dirty="0" err="1"/>
              <a:t>i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oned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!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0930DF2-410C-F8A5-C371-8762B1F7DA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Basic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136B862-B171-9F00-E5F3-D6407E80F5A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63FCA66-E31C-4EAA-A879-B2BAC7303EB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FDD664-5A87-8964-E7AF-C8918D078C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964E07-2F20-FA8C-1995-5AA8C86ED6F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9001105"/>
      </p:ext>
    </p:extLst>
  </p:cSld>
  <p:clrMapOvr>
    <a:masterClrMapping/>
  </p:clrMapOvr>
  <p:transition spd="slow" advClick="0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EE817F-506E-1BF6-FAD7-446D83966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1AC2EB-CE47-6B7A-8FC6-A8C0CBE92E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2FBF15-9689-4774-B430-A4EEF542A174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693A8C-6AF0-3D86-CB8D-BAAACCDDF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B663AE-86D3-E82E-424F-8417B7948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1259091"/>
      </p:ext>
    </p:extLst>
  </p:cSld>
  <p:clrMapOvr>
    <a:masterClrMapping/>
  </p:clrMapOvr>
  <p:transition spd="slow" advClick="0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reating</a:t>
            </a:r>
            <a:r>
              <a:rPr lang="de-DE" dirty="0"/>
              <a:t> a Bran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4F32F35-C69C-4915-9531-8483828DA62A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45EBF6E5-304D-F4E0-A0DF-D5266355BC91}"/>
              </a:ext>
            </a:extLst>
          </p:cNvPr>
          <p:cNvSpPr txBox="1">
            <a:spLocks/>
          </p:cNvSpPr>
          <p:nvPr/>
        </p:nvSpPr>
        <p:spPr>
          <a:xfrm>
            <a:off x="323999" y="1060450"/>
            <a:ext cx="5087245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3pPr>
            <a:lvl4pPr marL="719138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4pPr>
            <a:lvl5pPr marL="712788" indent="-1698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highlight>
                  <a:srgbClr val="CCEBD8"/>
                </a:highlight>
                <a:latin typeface="Consolas" panose="020B0609020204030204" pitchFamily="49" charset="0"/>
              </a:rPr>
              <a:t>HEAD</a:t>
            </a:r>
            <a:r>
              <a:rPr lang="de-DE" dirty="0"/>
              <a:t> </a:t>
            </a:r>
            <a:r>
              <a:rPr lang="en-US" dirty="0"/>
              <a:t>is a pointer to the local branch you’re currently on</a:t>
            </a:r>
          </a:p>
          <a:p>
            <a:r>
              <a:rPr lang="en-US" dirty="0"/>
              <a:t>The default branch name in Git is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</a:p>
          <a:p>
            <a:r>
              <a:rPr lang="en-US" dirty="0"/>
              <a:t>A branch points to a commit</a:t>
            </a:r>
            <a:endParaRPr lang="de-DE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66ADA6C-E087-B1BC-785B-7063C12B3CDF}"/>
              </a:ext>
            </a:extLst>
          </p:cNvPr>
          <p:cNvSpPr/>
          <p:nvPr/>
        </p:nvSpPr>
        <p:spPr>
          <a:xfrm>
            <a:off x="6995479" y="1205892"/>
            <a:ext cx="1459278" cy="4196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HEA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7DB235D-1B7A-AE2B-31D3-5D98DFF35634}"/>
              </a:ext>
            </a:extLst>
          </p:cNvPr>
          <p:cNvSpPr/>
          <p:nvPr/>
        </p:nvSpPr>
        <p:spPr>
          <a:xfrm>
            <a:off x="5421896" y="2049767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v1.0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99AFBC-F8CA-9CCB-6D8A-AE6CCBEF3A6C}"/>
              </a:ext>
            </a:extLst>
          </p:cNvPr>
          <p:cNvSpPr/>
          <p:nvPr/>
        </p:nvSpPr>
        <p:spPr>
          <a:xfrm>
            <a:off x="6995478" y="2049767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68453E4-A3B0-4DE9-3C38-B494AD293E33}"/>
              </a:ext>
            </a:extLst>
          </p:cNvPr>
          <p:cNvCxnSpPr>
            <a:cxnSpLocks/>
            <a:stCxn id="22" idx="2"/>
            <a:endCxn id="24" idx="0"/>
          </p:cNvCxnSpPr>
          <p:nvPr/>
        </p:nvCxnSpPr>
        <p:spPr>
          <a:xfrm>
            <a:off x="7725118" y="1625513"/>
            <a:ext cx="0" cy="4242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7D0C1F40-5DA3-26C1-1469-F98042B0E8F1}"/>
              </a:ext>
            </a:extLst>
          </p:cNvPr>
          <p:cNvSpPr/>
          <p:nvPr/>
        </p:nvSpPr>
        <p:spPr>
          <a:xfrm>
            <a:off x="6203731" y="2893038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30a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E6059C3-AEB7-E42E-0D16-32926A7C6114}"/>
              </a:ext>
            </a:extLst>
          </p:cNvPr>
          <p:cNvSpPr/>
          <p:nvPr/>
        </p:nvSpPr>
        <p:spPr>
          <a:xfrm>
            <a:off x="2644450" y="2893038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98ca9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848E7C6-A0B9-BC4B-5988-81FBCE9587EA}"/>
              </a:ext>
            </a:extLst>
          </p:cNvPr>
          <p:cNvSpPr/>
          <p:nvPr/>
        </p:nvSpPr>
        <p:spPr>
          <a:xfrm>
            <a:off x="4431061" y="2893037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34ac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8D052E5-EBF6-5D02-D4A0-2DF6EFEBF247}"/>
              </a:ext>
            </a:extLst>
          </p:cNvPr>
          <p:cNvSpPr/>
          <p:nvPr/>
        </p:nvSpPr>
        <p:spPr>
          <a:xfrm>
            <a:off x="2644446" y="3728114"/>
            <a:ext cx="1459282" cy="4196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Snapshot A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704E9DA-CC40-23EC-5DD6-B207F22A1FEA}"/>
              </a:ext>
            </a:extLst>
          </p:cNvPr>
          <p:cNvSpPr/>
          <p:nvPr/>
        </p:nvSpPr>
        <p:spPr>
          <a:xfrm>
            <a:off x="4431058" y="3727798"/>
            <a:ext cx="1459282" cy="4196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Snapshot B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618787F-D5BD-45CD-BB64-A255D5941227}"/>
              </a:ext>
            </a:extLst>
          </p:cNvPr>
          <p:cNvSpPr/>
          <p:nvPr/>
        </p:nvSpPr>
        <p:spPr>
          <a:xfrm>
            <a:off x="6203728" y="3727797"/>
            <a:ext cx="1459282" cy="4196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Snapshot C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A592E3C-E704-5F7E-2FE4-23832A9F4123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6151536" y="2469388"/>
            <a:ext cx="781835" cy="4236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C5D5566A-1E24-EA14-D58F-05FBD482D99C}"/>
              </a:ext>
            </a:extLst>
          </p:cNvPr>
          <p:cNvCxnSpPr>
            <a:stCxn id="24" idx="2"/>
            <a:endCxn id="28" idx="0"/>
          </p:cNvCxnSpPr>
          <p:nvPr/>
        </p:nvCxnSpPr>
        <p:spPr>
          <a:xfrm flipH="1">
            <a:off x="6933371" y="2469388"/>
            <a:ext cx="791747" cy="4236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C4F7857-F838-BD13-2007-BF5D5A407C69}"/>
              </a:ext>
            </a:extLst>
          </p:cNvPr>
          <p:cNvCxnSpPr>
            <a:stCxn id="28" idx="2"/>
            <a:endCxn id="35" idx="0"/>
          </p:cNvCxnSpPr>
          <p:nvPr/>
        </p:nvCxnSpPr>
        <p:spPr>
          <a:xfrm flipH="1">
            <a:off x="6933369" y="3312659"/>
            <a:ext cx="2" cy="4151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86352D3-463A-C255-D4CE-ED8F3F9424C8}"/>
              </a:ext>
            </a:extLst>
          </p:cNvPr>
          <p:cNvCxnSpPr>
            <a:stCxn id="30" idx="2"/>
            <a:endCxn id="34" idx="0"/>
          </p:cNvCxnSpPr>
          <p:nvPr/>
        </p:nvCxnSpPr>
        <p:spPr>
          <a:xfrm flipH="1">
            <a:off x="5160699" y="3312658"/>
            <a:ext cx="2" cy="4151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7AF53402-2B50-C27B-6A10-2F664418732C}"/>
              </a:ext>
            </a:extLst>
          </p:cNvPr>
          <p:cNvCxnSpPr>
            <a:stCxn id="29" idx="2"/>
            <a:endCxn id="31" idx="0"/>
          </p:cNvCxnSpPr>
          <p:nvPr/>
        </p:nvCxnSpPr>
        <p:spPr>
          <a:xfrm flipH="1">
            <a:off x="3374087" y="3312659"/>
            <a:ext cx="4" cy="4154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25CCF876-8FC2-8691-7B62-722CA541E4AF}"/>
              </a:ext>
            </a:extLst>
          </p:cNvPr>
          <p:cNvCxnSpPr>
            <a:stCxn id="30" idx="1"/>
            <a:endCxn id="29" idx="3"/>
          </p:cNvCxnSpPr>
          <p:nvPr/>
        </p:nvCxnSpPr>
        <p:spPr>
          <a:xfrm flipH="1">
            <a:off x="4103731" y="3102848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692819E0-35AF-CFE8-6023-4598CE50837C}"/>
              </a:ext>
            </a:extLst>
          </p:cNvPr>
          <p:cNvCxnSpPr>
            <a:stCxn id="28" idx="1"/>
            <a:endCxn id="30" idx="3"/>
          </p:cNvCxnSpPr>
          <p:nvPr/>
        </p:nvCxnSpPr>
        <p:spPr>
          <a:xfrm flipH="1" flipV="1">
            <a:off x="5890341" y="3102848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1719501"/>
      </p:ext>
    </p:extLst>
  </p:cSld>
  <p:clrMapOvr>
    <a:masterClrMapping/>
  </p:clrMapOvr>
  <p:transition spd="slow" advClick="0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reating</a:t>
            </a:r>
            <a:r>
              <a:rPr lang="de-DE" dirty="0"/>
              <a:t> a Branch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78BB530-C8BC-CBB0-9723-9925D51A68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9B8EA0E-827C-F3F9-3C7F-2EE82380F7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A08446C-3498-4E14-C316-C7AABDBF1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400" dirty="0">
                <a:highlight>
                  <a:srgbClr val="CCEBD8"/>
                </a:highlight>
                <a:latin typeface="Consolas" panose="020B0609020204030204" pitchFamily="49" charset="0"/>
              </a:rPr>
              <a:t>$ </a:t>
            </a:r>
            <a:r>
              <a:rPr lang="de-DE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git</a:t>
            </a:r>
            <a:r>
              <a:rPr lang="de-DE" sz="1400" dirty="0">
                <a:highlight>
                  <a:srgbClr val="CCEBD8"/>
                </a:highlight>
                <a:latin typeface="Consolas" panose="020B0609020204030204" pitchFamily="49" charset="0"/>
              </a:rPr>
              <a:t> </a:t>
            </a:r>
            <a:r>
              <a:rPr lang="de-DE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branch</a:t>
            </a:r>
            <a:r>
              <a:rPr lang="de-DE" sz="1400" dirty="0">
                <a:highlight>
                  <a:srgbClr val="CCEBD8"/>
                </a:highlight>
                <a:latin typeface="Consolas" panose="020B0609020204030204" pitchFamily="49" charset="0"/>
              </a:rPr>
              <a:t> </a:t>
            </a:r>
            <a:r>
              <a:rPr lang="de-DE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testing</a:t>
            </a:r>
            <a:endParaRPr lang="de-DE" sz="14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r>
              <a:rPr lang="de-DE" dirty="0"/>
              <a:t>Branch </a:t>
            </a:r>
            <a:r>
              <a:rPr lang="de-DE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test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reated</a:t>
            </a:r>
            <a:endParaRPr lang="de-DE" dirty="0"/>
          </a:p>
          <a:p>
            <a:r>
              <a:rPr lang="de-DE" dirty="0"/>
              <a:t>Both </a:t>
            </a:r>
            <a:r>
              <a:rPr lang="de-DE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r>
              <a:rPr lang="de-DE" dirty="0"/>
              <a:t> and </a:t>
            </a:r>
            <a:r>
              <a:rPr lang="de-DE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testing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commit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D89E069-C4FC-4CE1-B6E3-081B0921982D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9A52098-F9D8-57C7-8CC4-C9121724CF66}"/>
              </a:ext>
            </a:extLst>
          </p:cNvPr>
          <p:cNvSpPr/>
          <p:nvPr/>
        </p:nvSpPr>
        <p:spPr>
          <a:xfrm>
            <a:off x="6551550" y="1803966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05D3536-6297-57B5-5571-E79CD9A01CA2}"/>
              </a:ext>
            </a:extLst>
          </p:cNvPr>
          <p:cNvSpPr/>
          <p:nvPr/>
        </p:nvSpPr>
        <p:spPr>
          <a:xfrm>
            <a:off x="6551551" y="2656353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30ab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CC7C5F9-3EE6-D3D9-FF44-822077A7B26B}"/>
              </a:ext>
            </a:extLst>
          </p:cNvPr>
          <p:cNvSpPr/>
          <p:nvPr/>
        </p:nvSpPr>
        <p:spPr>
          <a:xfrm>
            <a:off x="2992270" y="2656353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98ca9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B7C4A96-5CD4-5CA1-C2F7-C328FAA76245}"/>
              </a:ext>
            </a:extLst>
          </p:cNvPr>
          <p:cNvSpPr/>
          <p:nvPr/>
        </p:nvSpPr>
        <p:spPr>
          <a:xfrm>
            <a:off x="4778881" y="2656352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34ac2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BC906A0-1546-0B4E-B0E1-BA4D7E635303}"/>
              </a:ext>
            </a:extLst>
          </p:cNvPr>
          <p:cNvCxnSpPr>
            <a:stCxn id="21" idx="2"/>
            <a:endCxn id="23" idx="0"/>
          </p:cNvCxnSpPr>
          <p:nvPr/>
        </p:nvCxnSpPr>
        <p:spPr>
          <a:xfrm>
            <a:off x="7281190" y="2223587"/>
            <a:ext cx="1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C7DD74F-ED04-86DE-14BC-9917C0A30EFD}"/>
              </a:ext>
            </a:extLst>
          </p:cNvPr>
          <p:cNvCxnSpPr>
            <a:stCxn id="25" idx="1"/>
            <a:endCxn id="24" idx="3"/>
          </p:cNvCxnSpPr>
          <p:nvPr/>
        </p:nvCxnSpPr>
        <p:spPr>
          <a:xfrm flipH="1">
            <a:off x="4451551" y="2866163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7643FDC-A26F-ACA2-CFE9-BFA6BEAF286E}"/>
              </a:ext>
            </a:extLst>
          </p:cNvPr>
          <p:cNvCxnSpPr>
            <a:stCxn id="23" idx="1"/>
            <a:endCxn id="25" idx="3"/>
          </p:cNvCxnSpPr>
          <p:nvPr/>
        </p:nvCxnSpPr>
        <p:spPr>
          <a:xfrm flipH="1" flipV="1">
            <a:off x="6238161" y="2866163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B0B49F6C-5450-3A94-C176-946F506F60EA}"/>
              </a:ext>
            </a:extLst>
          </p:cNvPr>
          <p:cNvSpPr/>
          <p:nvPr/>
        </p:nvSpPr>
        <p:spPr>
          <a:xfrm>
            <a:off x="6551549" y="3508739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testing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F9CB6E7-B9DE-0FD3-22FD-31CCF6F586C6}"/>
              </a:ext>
            </a:extLst>
          </p:cNvPr>
          <p:cNvCxnSpPr>
            <a:stCxn id="31" idx="0"/>
            <a:endCxn id="23" idx="2"/>
          </p:cNvCxnSpPr>
          <p:nvPr/>
        </p:nvCxnSpPr>
        <p:spPr>
          <a:xfrm flipV="1">
            <a:off x="7281189" y="3075974"/>
            <a:ext cx="2" cy="432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8667182"/>
      </p:ext>
    </p:extLst>
  </p:cSld>
  <p:clrMapOvr>
    <a:masterClrMapping/>
  </p:clrMapOvr>
  <p:transition spd="slow" advClick="0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reating</a:t>
            </a:r>
            <a:r>
              <a:rPr lang="de-DE" dirty="0"/>
              <a:t> a Bran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4E967F5-982B-4D51-893C-30246BB000DF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1A75AC-274D-88C2-1495-059502124E96}"/>
              </a:ext>
            </a:extLst>
          </p:cNvPr>
          <p:cNvSpPr/>
          <p:nvPr/>
        </p:nvSpPr>
        <p:spPr>
          <a:xfrm>
            <a:off x="6689607" y="2073758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6689608" y="2926145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30ab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3130327" y="2926145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98ca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4916938" y="2926144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34ac2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6BEB73-A31B-8561-CC65-6B100CD27325}"/>
              </a:ext>
            </a:extLst>
          </p:cNvPr>
          <p:cNvCxnSpPr>
            <a:stCxn id="14" idx="2"/>
            <a:endCxn id="15" idx="0"/>
          </p:cNvCxnSpPr>
          <p:nvPr/>
        </p:nvCxnSpPr>
        <p:spPr>
          <a:xfrm>
            <a:off x="7419247" y="2493379"/>
            <a:ext cx="1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4589608" y="3135955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6376218" y="3135955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D2D6D372-37B2-14B1-3F0E-3FA29F7F865D}"/>
              </a:ext>
            </a:extLst>
          </p:cNvPr>
          <p:cNvSpPr/>
          <p:nvPr/>
        </p:nvSpPr>
        <p:spPr>
          <a:xfrm>
            <a:off x="6689606" y="3778531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testing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A2F88CD-E97E-F9E9-79A6-A06937AA5867}"/>
              </a:ext>
            </a:extLst>
          </p:cNvPr>
          <p:cNvCxnSpPr>
            <a:stCxn id="21" idx="0"/>
            <a:endCxn id="15" idx="2"/>
          </p:cNvCxnSpPr>
          <p:nvPr/>
        </p:nvCxnSpPr>
        <p:spPr>
          <a:xfrm flipV="1">
            <a:off x="7419246" y="3345766"/>
            <a:ext cx="2" cy="432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7323141" cy="3539788"/>
          </a:xfrm>
        </p:spPr>
        <p:txBody>
          <a:bodyPr/>
          <a:lstStyle/>
          <a:p>
            <a:r>
              <a:rPr lang="de-DE" sz="1400" dirty="0">
                <a:highlight>
                  <a:srgbClr val="CCEBD8"/>
                </a:highlight>
                <a:latin typeface="Consolas" panose="020B0609020204030204" pitchFamily="49" charset="0"/>
              </a:rPr>
              <a:t>HEA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still on </a:t>
            </a:r>
            <a:r>
              <a:rPr lang="de-DE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endParaRPr lang="de-DE" sz="14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log --</a:t>
            </a:r>
            <a:r>
              <a:rPr lang="en-US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oneline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 --decorate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f30ab (HEAD -&gt; main, testing) Add feature #32 - ability to add new formats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34ac2 Fix bug #1328 - stack overflow under certain conditions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98ca9 Initial commit</a:t>
            </a:r>
            <a:endParaRPr lang="de-DE" sz="1000" dirty="0">
              <a:latin typeface="Consolas" panose="020B0609020204030204" pitchFamily="49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26123E-5E4D-058F-F56E-C1B77FDB39EA}"/>
              </a:ext>
            </a:extLst>
          </p:cNvPr>
          <p:cNvSpPr/>
          <p:nvPr/>
        </p:nvSpPr>
        <p:spPr>
          <a:xfrm>
            <a:off x="6689609" y="1232210"/>
            <a:ext cx="1459278" cy="4196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HEAD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E38E314-B452-B189-2F5C-B85315F9E879}"/>
              </a:ext>
            </a:extLst>
          </p:cNvPr>
          <p:cNvCxnSpPr>
            <a:cxnSpLocks/>
            <a:endCxn id="14" idx="0"/>
          </p:cNvCxnSpPr>
          <p:nvPr/>
        </p:nvCxnSpPr>
        <p:spPr>
          <a:xfrm flipH="1">
            <a:off x="7419247" y="1673309"/>
            <a:ext cx="1" cy="4004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8392170"/>
      </p:ext>
    </p:extLst>
  </p:cSld>
  <p:clrMapOvr>
    <a:masterClrMapping/>
  </p:clrMapOvr>
  <p:transition spd="slow" advClick="0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witch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65DB9B1-5A58-47AB-8758-A4AA091F7FDA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1A75AC-274D-88C2-1495-059502124E96}"/>
              </a:ext>
            </a:extLst>
          </p:cNvPr>
          <p:cNvSpPr/>
          <p:nvPr/>
        </p:nvSpPr>
        <p:spPr>
          <a:xfrm>
            <a:off x="6250929" y="1232209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6250930" y="2084596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30ab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2691649" y="2084596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98ca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4478260" y="2084595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34ac2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6BEB73-A31B-8561-CC65-6B100CD27325}"/>
              </a:ext>
            </a:extLst>
          </p:cNvPr>
          <p:cNvCxnSpPr>
            <a:stCxn id="14" idx="2"/>
            <a:endCxn id="15" idx="0"/>
          </p:cNvCxnSpPr>
          <p:nvPr/>
        </p:nvCxnSpPr>
        <p:spPr>
          <a:xfrm>
            <a:off x="6980569" y="1651830"/>
            <a:ext cx="1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4150930" y="2294406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5937540" y="2294406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D2D6D372-37B2-14B1-3F0E-3FA29F7F865D}"/>
              </a:ext>
            </a:extLst>
          </p:cNvPr>
          <p:cNvSpPr/>
          <p:nvPr/>
        </p:nvSpPr>
        <p:spPr>
          <a:xfrm>
            <a:off x="6250928" y="2936982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testing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A2F88CD-E97E-F9E9-79A6-A06937AA5867}"/>
              </a:ext>
            </a:extLst>
          </p:cNvPr>
          <p:cNvCxnSpPr>
            <a:stCxn id="21" idx="0"/>
            <a:endCxn id="15" idx="2"/>
          </p:cNvCxnSpPr>
          <p:nvPr/>
        </p:nvCxnSpPr>
        <p:spPr>
          <a:xfrm flipV="1">
            <a:off x="6980568" y="2504217"/>
            <a:ext cx="2" cy="432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5431707" cy="3539788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testing</a:t>
            </a:r>
          </a:p>
          <a:p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HEAD</a:t>
            </a:r>
            <a:r>
              <a:rPr lang="en-US" dirty="0"/>
              <a:t> now points to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testing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26123E-5E4D-058F-F56E-C1B77FDB39EA}"/>
              </a:ext>
            </a:extLst>
          </p:cNvPr>
          <p:cNvSpPr/>
          <p:nvPr/>
        </p:nvSpPr>
        <p:spPr>
          <a:xfrm>
            <a:off x="6250931" y="3747850"/>
            <a:ext cx="1459278" cy="4196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HEA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C2447B9-DCCD-5363-0A7C-11C160C3FA06}"/>
              </a:ext>
            </a:extLst>
          </p:cNvPr>
          <p:cNvCxnSpPr>
            <a:stCxn id="25" idx="0"/>
            <a:endCxn id="21" idx="2"/>
          </p:cNvCxnSpPr>
          <p:nvPr/>
        </p:nvCxnSpPr>
        <p:spPr>
          <a:xfrm flipH="1" flipV="1">
            <a:off x="6980568" y="3356603"/>
            <a:ext cx="2" cy="3912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435835"/>
      </p:ext>
    </p:extLst>
  </p:cSld>
  <p:clrMapOvr>
    <a:masterClrMapping/>
  </p:clrMapOvr>
  <p:transition spd="slow" advClick="0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witch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0922FAA-F0D9-476C-B858-C8603BCB3174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1A75AC-274D-88C2-1495-059502124E96}"/>
              </a:ext>
            </a:extLst>
          </p:cNvPr>
          <p:cNvSpPr/>
          <p:nvPr/>
        </p:nvSpPr>
        <p:spPr>
          <a:xfrm>
            <a:off x="5511658" y="1608832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5511659" y="2461219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30ab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1952378" y="2461219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98ca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3738989" y="2461218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34ac2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6BEB73-A31B-8561-CC65-6B100CD27325}"/>
              </a:ext>
            </a:extLst>
          </p:cNvPr>
          <p:cNvCxnSpPr>
            <a:stCxn id="14" idx="2"/>
            <a:endCxn id="15" idx="0"/>
          </p:cNvCxnSpPr>
          <p:nvPr/>
        </p:nvCxnSpPr>
        <p:spPr>
          <a:xfrm>
            <a:off x="6241298" y="2028453"/>
            <a:ext cx="1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3411659" y="2671029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5198269" y="2671029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D2D6D372-37B2-14B1-3F0E-3FA29F7F865D}"/>
              </a:ext>
            </a:extLst>
          </p:cNvPr>
          <p:cNvSpPr/>
          <p:nvPr/>
        </p:nvSpPr>
        <p:spPr>
          <a:xfrm>
            <a:off x="7298269" y="3313604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testing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A2F88CD-E97E-F9E9-79A6-A06937AA5867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8027909" y="2880839"/>
            <a:ext cx="2" cy="432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060450"/>
            <a:ext cx="4091426" cy="3539788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echo “test” &gt; test.txt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ommit -a -m 'Make a change’</a:t>
            </a:r>
          </a:p>
          <a:p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r>
              <a:rPr lang="en-US" dirty="0"/>
              <a:t> and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testing</a:t>
            </a:r>
            <a:r>
              <a:rPr lang="en-US" dirty="0"/>
              <a:t> don’t point at the same commit anymo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26123E-5E4D-058F-F56E-C1B77FDB39EA}"/>
              </a:ext>
            </a:extLst>
          </p:cNvPr>
          <p:cNvSpPr/>
          <p:nvPr/>
        </p:nvSpPr>
        <p:spPr>
          <a:xfrm>
            <a:off x="7298272" y="4124472"/>
            <a:ext cx="1459278" cy="4196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HEA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C2447B9-DCCD-5363-0A7C-11C160C3FA06}"/>
              </a:ext>
            </a:extLst>
          </p:cNvPr>
          <p:cNvCxnSpPr>
            <a:stCxn id="25" idx="0"/>
            <a:endCxn id="21" idx="2"/>
          </p:cNvCxnSpPr>
          <p:nvPr/>
        </p:nvCxnSpPr>
        <p:spPr>
          <a:xfrm flipH="1" flipV="1">
            <a:off x="8027909" y="3733225"/>
            <a:ext cx="2" cy="3912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12260CBA-812E-0C76-C44A-A8226920DADF}"/>
              </a:ext>
            </a:extLst>
          </p:cNvPr>
          <p:cNvSpPr/>
          <p:nvPr/>
        </p:nvSpPr>
        <p:spPr>
          <a:xfrm>
            <a:off x="7298269" y="2465142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87ab2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577A697-A54E-AAEE-7AF0-EC803023FDE1}"/>
              </a:ext>
            </a:extLst>
          </p:cNvPr>
          <p:cNvCxnSpPr>
            <a:stCxn id="5" idx="1"/>
            <a:endCxn id="15" idx="3"/>
          </p:cNvCxnSpPr>
          <p:nvPr/>
        </p:nvCxnSpPr>
        <p:spPr>
          <a:xfrm flipH="1" flipV="1">
            <a:off x="6970938" y="2671030"/>
            <a:ext cx="327331" cy="3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5389816"/>
      </p:ext>
    </p:extLst>
  </p:cSld>
  <p:clrMapOvr>
    <a:masterClrMapping/>
  </p:clrMapOvr>
  <p:transition spd="slow" advClick="0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witch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A6DC864-20B4-45A0-ACE3-B5244A0732D1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1A75AC-274D-88C2-1495-059502124E96}"/>
              </a:ext>
            </a:extLst>
          </p:cNvPr>
          <p:cNvSpPr/>
          <p:nvPr/>
        </p:nvSpPr>
        <p:spPr>
          <a:xfrm>
            <a:off x="4735044" y="1919919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4735045" y="2772306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30ab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1175764" y="2772306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98ca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2962375" y="2772305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34ac2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6BEB73-A31B-8561-CC65-6B100CD27325}"/>
              </a:ext>
            </a:extLst>
          </p:cNvPr>
          <p:cNvCxnSpPr>
            <a:stCxn id="14" idx="2"/>
            <a:endCxn id="15" idx="0"/>
          </p:cNvCxnSpPr>
          <p:nvPr/>
        </p:nvCxnSpPr>
        <p:spPr>
          <a:xfrm>
            <a:off x="5464684" y="2339540"/>
            <a:ext cx="1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2635045" y="2982116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4421655" y="2982116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D2D6D372-37B2-14B1-3F0E-3FA29F7F865D}"/>
              </a:ext>
            </a:extLst>
          </p:cNvPr>
          <p:cNvSpPr/>
          <p:nvPr/>
        </p:nvSpPr>
        <p:spPr>
          <a:xfrm>
            <a:off x="6521655" y="3624691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testing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A2F88CD-E97E-F9E9-79A6-A06937AA5867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7251295" y="3191926"/>
            <a:ext cx="2" cy="432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5431707" cy="3539788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main</a:t>
            </a:r>
          </a:p>
          <a:p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HEAD</a:t>
            </a:r>
            <a:r>
              <a:rPr lang="en-US" dirty="0"/>
              <a:t> pointer moves back to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</a:p>
          <a:p>
            <a:r>
              <a:rPr lang="en-US" dirty="0"/>
              <a:t>Files are reverted to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f30ab</a:t>
            </a:r>
            <a:r>
              <a:rPr lang="en-US" dirty="0"/>
              <a:t> snapsho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26123E-5E4D-058F-F56E-C1B77FDB39EA}"/>
              </a:ext>
            </a:extLst>
          </p:cNvPr>
          <p:cNvSpPr/>
          <p:nvPr/>
        </p:nvSpPr>
        <p:spPr>
          <a:xfrm>
            <a:off x="4735046" y="1052211"/>
            <a:ext cx="1459278" cy="4196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HEA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C2447B9-DCCD-5363-0A7C-11C160C3FA06}"/>
              </a:ext>
            </a:extLst>
          </p:cNvPr>
          <p:cNvCxnSpPr>
            <a:cxnSpLocks/>
            <a:stCxn id="25" idx="2"/>
            <a:endCxn id="14" idx="0"/>
          </p:cNvCxnSpPr>
          <p:nvPr/>
        </p:nvCxnSpPr>
        <p:spPr>
          <a:xfrm flipH="1">
            <a:off x="5464684" y="1471832"/>
            <a:ext cx="1" cy="4480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12260CBA-812E-0C76-C44A-A8226920DADF}"/>
              </a:ext>
            </a:extLst>
          </p:cNvPr>
          <p:cNvSpPr/>
          <p:nvPr/>
        </p:nvSpPr>
        <p:spPr>
          <a:xfrm>
            <a:off x="6521655" y="2776229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87ab2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577A697-A54E-AAEE-7AF0-EC803023FDE1}"/>
              </a:ext>
            </a:extLst>
          </p:cNvPr>
          <p:cNvCxnSpPr>
            <a:stCxn id="5" idx="1"/>
            <a:endCxn id="15" idx="3"/>
          </p:cNvCxnSpPr>
          <p:nvPr/>
        </p:nvCxnSpPr>
        <p:spPr>
          <a:xfrm flipH="1" flipV="1">
            <a:off x="6194324" y="2982117"/>
            <a:ext cx="327331" cy="3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652008"/>
      </p:ext>
    </p:extLst>
  </p:cSld>
  <p:clrMapOvr>
    <a:masterClrMapping/>
  </p:clrMapOvr>
  <p:transition spd="slow" advClick="0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witch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1FC4DDE-68A3-41EB-B4D2-A84327F2DB4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1A75AC-274D-88C2-1495-059502124E96}"/>
              </a:ext>
            </a:extLst>
          </p:cNvPr>
          <p:cNvSpPr/>
          <p:nvPr/>
        </p:nvSpPr>
        <p:spPr>
          <a:xfrm>
            <a:off x="6909964" y="1127262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5123356" y="2399270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30ab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1564075" y="2399270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98ca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3350686" y="2399269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34ac2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6BEB73-A31B-8561-CC65-6B100CD27325}"/>
              </a:ext>
            </a:extLst>
          </p:cNvPr>
          <p:cNvCxnSpPr>
            <a:cxnSpLocks/>
            <a:stCxn id="14" idx="2"/>
            <a:endCxn id="11" idx="0"/>
          </p:cNvCxnSpPr>
          <p:nvPr/>
        </p:nvCxnSpPr>
        <p:spPr>
          <a:xfrm>
            <a:off x="7639604" y="1546883"/>
            <a:ext cx="4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3023356" y="2609080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4809966" y="2609080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D2D6D372-37B2-14B1-3F0E-3FA29F7F865D}"/>
              </a:ext>
            </a:extLst>
          </p:cNvPr>
          <p:cNvSpPr/>
          <p:nvPr/>
        </p:nvSpPr>
        <p:spPr>
          <a:xfrm>
            <a:off x="6909966" y="3663429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testing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A2F88CD-E97E-F9E9-79A6-A06937AA5867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7639606" y="3230664"/>
            <a:ext cx="2" cy="432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5431707" cy="3539788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echo “test2” &gt; test.txt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ommit -a -m 'Make other changes’</a:t>
            </a:r>
          </a:p>
          <a:p>
            <a:r>
              <a:rPr lang="en-US" dirty="0"/>
              <a:t>Project history has diverged</a:t>
            </a:r>
          </a:p>
          <a:p>
            <a:pPr marL="0" indent="0">
              <a:buNone/>
            </a:pPr>
            <a:endParaRPr lang="en-US" sz="14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en-US" sz="14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en-US" sz="14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en-US" sz="14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git log --</a:t>
            </a:r>
            <a:r>
              <a:rPr lang="en-US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oneline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 --decorate --graph –all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* c2b9e (HEAD, main) Make other changes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| * 87ab2 (testing) Make a change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|/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* f30ab Add feature #32 - ability to add new formats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* 34ac2 Fix bug #1328 - stack overflow under certain conditions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* 98ca9 Initial commit of my project</a:t>
            </a:r>
          </a:p>
          <a:p>
            <a:endParaRPr lang="en-US" sz="1400" dirty="0">
              <a:highlight>
                <a:srgbClr val="CCEBD8"/>
              </a:highlight>
              <a:latin typeface="Consolas" panose="020B0609020204030204" pitchFamily="49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26123E-5E4D-058F-F56E-C1B77FDB39EA}"/>
              </a:ext>
            </a:extLst>
          </p:cNvPr>
          <p:cNvSpPr/>
          <p:nvPr/>
        </p:nvSpPr>
        <p:spPr>
          <a:xfrm>
            <a:off x="6909966" y="259554"/>
            <a:ext cx="1459278" cy="4196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HEA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C2447B9-DCCD-5363-0A7C-11C160C3FA06}"/>
              </a:ext>
            </a:extLst>
          </p:cNvPr>
          <p:cNvCxnSpPr>
            <a:cxnSpLocks/>
            <a:stCxn id="25" idx="2"/>
            <a:endCxn id="14" idx="0"/>
          </p:cNvCxnSpPr>
          <p:nvPr/>
        </p:nvCxnSpPr>
        <p:spPr>
          <a:xfrm flipH="1">
            <a:off x="7639604" y="679175"/>
            <a:ext cx="1" cy="4480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12260CBA-812E-0C76-C44A-A8226920DADF}"/>
              </a:ext>
            </a:extLst>
          </p:cNvPr>
          <p:cNvSpPr/>
          <p:nvPr/>
        </p:nvSpPr>
        <p:spPr>
          <a:xfrm>
            <a:off x="6909966" y="2814967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87ab2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577A697-A54E-AAEE-7AF0-EC803023FDE1}"/>
              </a:ext>
            </a:extLst>
          </p:cNvPr>
          <p:cNvCxnSpPr>
            <a:stCxn id="5" idx="1"/>
            <a:endCxn id="15" idx="3"/>
          </p:cNvCxnSpPr>
          <p:nvPr/>
        </p:nvCxnSpPr>
        <p:spPr>
          <a:xfrm flipH="1" flipV="1">
            <a:off x="6582635" y="2609081"/>
            <a:ext cx="327331" cy="4156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2591955-4F3E-B7DC-B966-C120A27EF329}"/>
              </a:ext>
            </a:extLst>
          </p:cNvPr>
          <p:cNvSpPr/>
          <p:nvPr/>
        </p:nvSpPr>
        <p:spPr>
          <a:xfrm>
            <a:off x="6909968" y="1979649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b9e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CDF316B-BB45-980A-2EF4-08083977AD14}"/>
              </a:ext>
            </a:extLst>
          </p:cNvPr>
          <p:cNvCxnSpPr>
            <a:stCxn id="11" idx="1"/>
            <a:endCxn id="15" idx="3"/>
          </p:cNvCxnSpPr>
          <p:nvPr/>
        </p:nvCxnSpPr>
        <p:spPr>
          <a:xfrm flipH="1">
            <a:off x="6582635" y="2189460"/>
            <a:ext cx="327333" cy="4196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6967631"/>
      </p:ext>
    </p:extLst>
  </p:cSld>
  <p:clrMapOvr>
    <a:masterClrMapping/>
  </p:clrMapOvr>
  <p:transition spd="slow" advClick="0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C1ECA5C-32AC-4E32-A99B-0B46C23B61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512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C1ECA5C-32AC-4E32-A99B-0B46C23B6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24000" y="324001"/>
            <a:ext cx="8244301" cy="648000"/>
          </a:xfrm>
        </p:spPr>
        <p:txBody>
          <a:bodyPr vert="horz"/>
          <a:lstStyle/>
          <a:p>
            <a:r>
              <a:rPr lang="de-DE" dirty="0"/>
              <a:t>Agenda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694EBEC2-A9DA-4E5A-AB20-F6BF2DB790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71F436B0-4422-4ABC-AAE3-F73236910D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>
          <a:xfrm>
            <a:off x="323719" y="1607573"/>
            <a:ext cx="8568001" cy="2989031"/>
          </a:xfrm>
        </p:spPr>
        <p:txBody>
          <a:bodyPr numCol="2"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  <a:p>
            <a:r>
              <a:rPr lang="de-DE" dirty="0" err="1"/>
              <a:t>Git</a:t>
            </a:r>
            <a:r>
              <a:rPr lang="de-DE" dirty="0"/>
              <a:t> Basics (2 Labs)</a:t>
            </a:r>
          </a:p>
          <a:p>
            <a:r>
              <a:rPr lang="de-DE" dirty="0" err="1"/>
              <a:t>Branching</a:t>
            </a:r>
            <a:r>
              <a:rPr lang="de-DE" dirty="0"/>
              <a:t> (1 Lab)</a:t>
            </a:r>
          </a:p>
          <a:p>
            <a:pPr lvl="1"/>
            <a:r>
              <a:rPr lang="de-DE" dirty="0" err="1"/>
              <a:t>Merge</a:t>
            </a:r>
            <a:endParaRPr lang="de-DE" dirty="0"/>
          </a:p>
          <a:p>
            <a:pPr lvl="1"/>
            <a:r>
              <a:rPr lang="de-DE" dirty="0" err="1"/>
              <a:t>Rebase</a:t>
            </a:r>
            <a:endParaRPr lang="de-DE" dirty="0"/>
          </a:p>
          <a:p>
            <a:r>
              <a:rPr lang="de-DE" dirty="0"/>
              <a:t>Best Practices</a:t>
            </a:r>
          </a:p>
          <a:p>
            <a:pPr lvl="1"/>
            <a:r>
              <a:rPr lang="de-DE" dirty="0" err="1"/>
              <a:t>Pre</a:t>
            </a:r>
            <a:r>
              <a:rPr lang="de-DE" dirty="0"/>
              <a:t>-Commit Hooks</a:t>
            </a:r>
          </a:p>
          <a:p>
            <a:pPr lvl="1"/>
            <a:r>
              <a:rPr lang="de-DE" dirty="0" err="1"/>
              <a:t>Branching</a:t>
            </a:r>
            <a:r>
              <a:rPr lang="de-DE" dirty="0"/>
              <a:t> </a:t>
            </a:r>
            <a:r>
              <a:rPr lang="de-DE" dirty="0" err="1"/>
              <a:t>Strategies</a:t>
            </a:r>
            <a:endParaRPr lang="de-DE" dirty="0"/>
          </a:p>
          <a:p>
            <a:pPr marL="177800" lvl="1" indent="0">
              <a:buNone/>
            </a:pPr>
            <a:endParaRPr lang="de-DE" dirty="0"/>
          </a:p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r>
              <a:rPr lang="de-DE" dirty="0"/>
              <a:t> (1 Lab)</a:t>
            </a:r>
          </a:p>
          <a:p>
            <a:r>
              <a:rPr lang="de-DE" dirty="0"/>
              <a:t>Azure </a:t>
            </a:r>
            <a:r>
              <a:rPr lang="de-DE" dirty="0" err="1"/>
              <a:t>DevOps</a:t>
            </a:r>
            <a:r>
              <a:rPr lang="de-DE" dirty="0"/>
              <a:t> (1 Lab)</a:t>
            </a:r>
          </a:p>
          <a:p>
            <a:pPr lvl="1"/>
            <a:r>
              <a:rPr lang="de-DE" dirty="0"/>
              <a:t>Version Control &amp; </a:t>
            </a:r>
            <a:r>
              <a:rPr lang="de-DE" dirty="0" err="1"/>
              <a:t>Collaboration</a:t>
            </a:r>
            <a:endParaRPr lang="de-DE" dirty="0"/>
          </a:p>
          <a:p>
            <a:pPr lvl="1"/>
            <a:r>
              <a:rPr lang="de-DE" dirty="0"/>
              <a:t>Work Item Tracking</a:t>
            </a:r>
          </a:p>
          <a:p>
            <a:pPr lvl="1"/>
            <a:r>
              <a:rPr lang="de-DE" dirty="0"/>
              <a:t>CI/CD Pipelines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>
          <a:xfrm>
            <a:off x="250825" y="4860448"/>
            <a:ext cx="720000" cy="288000"/>
          </a:xfr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457200" rtl="0" eaLnBrk="1" latinLnBrk="0" hangingPunct="1">
              <a:defRPr sz="800" b="0" i="0" kern="120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D2CED5-7061-468D-875C-AD5EF6036020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4"/>
          </p:nvPr>
        </p:nvSpPr>
        <p:spPr>
          <a:xfrm>
            <a:off x="971551" y="4860448"/>
            <a:ext cx="5580000" cy="288000"/>
          </a:xfr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457200" rtl="0" eaLnBrk="1" latinLnBrk="0" hangingPunct="1">
              <a:defRPr sz="800" b="0" i="0" kern="120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>
          <a:xfrm>
            <a:off x="8244408" y="4860448"/>
            <a:ext cx="720079" cy="288000"/>
          </a:xfr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800" b="0" i="0" kern="1200">
                <a:solidFill>
                  <a:srgbClr val="204232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701BC5-B25A-9846-8C4A-A8E343C5228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2" name="Inhaltsplatzhalter 9">
            <a:extLst>
              <a:ext uri="{FF2B5EF4-FFF2-40B4-BE49-F238E27FC236}">
                <a16:creationId xmlns:a16="http://schemas.microsoft.com/office/drawing/2014/main" id="{40608E61-3D05-8892-9028-29C39B35F92C}"/>
              </a:ext>
            </a:extLst>
          </p:cNvPr>
          <p:cNvSpPr txBox="1">
            <a:spLocks/>
          </p:cNvSpPr>
          <p:nvPr/>
        </p:nvSpPr>
        <p:spPr>
          <a:xfrm>
            <a:off x="323719" y="954995"/>
            <a:ext cx="8568001" cy="288000"/>
          </a:xfrm>
          <a:prstGeom prst="rect">
            <a:avLst/>
          </a:prstGeom>
        </p:spPr>
        <p:txBody>
          <a:bodyPr lIns="0" tIns="0" rIns="0" bIns="0" numCol="2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accent1"/>
              </a:buClr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1pPr>
            <a:lvl2pPr marL="360363" indent="-1825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accent1"/>
              </a:buClr>
              <a:buFont typeface="+mj-lt"/>
              <a:buAutoNum type="alphaLcPeriod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</a:defRPr>
            </a:lvl2pPr>
            <a:lvl3pPr marL="539750" indent="-1778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accent1"/>
              </a:buClr>
              <a:buFont typeface="+mj-lt"/>
              <a:buAutoNum type="romanLcPeriod"/>
              <a:defRPr sz="1600" kern="1200" baseline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3pPr>
            <a:lvl4pPr marL="719138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accent1"/>
              </a:buClr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4pPr>
            <a:lvl5pPr marL="900113" indent="-1825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accent1"/>
              </a:buClr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Day 1</a:t>
            </a:r>
          </a:p>
          <a:p>
            <a:pPr marL="0" indent="0">
              <a:buNone/>
            </a:pPr>
            <a:r>
              <a:rPr lang="de-DE" b="1" dirty="0"/>
              <a:t>Day 2</a:t>
            </a:r>
          </a:p>
        </p:txBody>
      </p:sp>
    </p:spTree>
    <p:extLst>
      <p:ext uri="{BB962C8B-B14F-4D97-AF65-F5344CB8AC3E}">
        <p14:creationId xmlns:p14="http://schemas.microsoft.com/office/powerpoint/2010/main" val="39002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0CAC76-40F3-8780-983B-EB5A62BC49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A2D82A2-DEAC-BFC8-1DC9-0B76408B23B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magine the following scenario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You create a branch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from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r>
              <a:rPr lang="en-US" dirty="0"/>
              <a:t> to work on a tas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You work on that task and create a commi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uddenly you receive a request to fix something in the production branch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You switch to the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r>
              <a:rPr lang="en-US" dirty="0"/>
              <a:t> branch and create a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hotfix</a:t>
            </a:r>
            <a:r>
              <a:rPr lang="en-US" dirty="0"/>
              <a:t> branc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You solve the problem with a new commit on the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hotfix</a:t>
            </a:r>
            <a:r>
              <a:rPr lang="en-US" dirty="0"/>
              <a:t> branch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You merge the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hotfix</a:t>
            </a:r>
            <a:r>
              <a:rPr lang="en-US" dirty="0"/>
              <a:t> branch into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n you switch back to your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branch and continue working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You finish work on your task and merge the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branch into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b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b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r>
              <a:rPr lang="en-US" b="1" dirty="0"/>
              <a:t>What does this workflow look like in Git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458D93A-80C3-4105-A514-90EC4845FAC4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0811244"/>
      </p:ext>
    </p:extLst>
  </p:cSld>
  <p:clrMapOvr>
    <a:masterClrMapping/>
  </p:clrMapOvr>
  <p:transition spd="slow" advClick="0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EACA7CC-C5FF-48F7-8F3E-92E1ED03E363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1A75AC-274D-88C2-1495-059502124E96}"/>
              </a:ext>
            </a:extLst>
          </p:cNvPr>
          <p:cNvSpPr/>
          <p:nvPr/>
        </p:nvSpPr>
        <p:spPr>
          <a:xfrm>
            <a:off x="6851943" y="1399974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6851944" y="2252361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3292663" y="2252361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5079274" y="2252360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6BEB73-A31B-8561-CC65-6B100CD27325}"/>
              </a:ext>
            </a:extLst>
          </p:cNvPr>
          <p:cNvCxnSpPr>
            <a:stCxn id="14" idx="2"/>
            <a:endCxn id="15" idx="0"/>
          </p:cNvCxnSpPr>
          <p:nvPr/>
        </p:nvCxnSpPr>
        <p:spPr>
          <a:xfrm>
            <a:off x="7581583" y="1819595"/>
            <a:ext cx="1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4751944" y="2462171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6538554" y="2462171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5431707" cy="1269391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–b feature</a:t>
            </a:r>
          </a:p>
          <a:p>
            <a:r>
              <a:rPr lang="en-US" dirty="0"/>
              <a:t>This is shorthand for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branch feature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feature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6847962" y="3104748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stCxn id="13" idx="0"/>
            <a:endCxn id="15" idx="2"/>
          </p:cNvCxnSpPr>
          <p:nvPr/>
        </p:nvCxnSpPr>
        <p:spPr>
          <a:xfrm flipV="1">
            <a:off x="7577602" y="2671982"/>
            <a:ext cx="3982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4813754"/>
      </p:ext>
    </p:extLst>
  </p:cSld>
  <p:clrMapOvr>
    <a:masterClrMapping/>
  </p:clrMapOvr>
  <p:transition spd="slow" advClick="0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5431707" cy="1269391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vim model.py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ommit -a -m ‘Add new layer’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8D091F4-8BE7-446A-B429-7E3EAD7C93C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1A75AC-274D-88C2-1495-059502124E96}"/>
              </a:ext>
            </a:extLst>
          </p:cNvPr>
          <p:cNvSpPr/>
          <p:nvPr/>
        </p:nvSpPr>
        <p:spPr>
          <a:xfrm>
            <a:off x="4981108" y="1824547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4981109" y="2676934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1421828" y="2676934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3208439" y="2676933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6BEB73-A31B-8561-CC65-6B100CD27325}"/>
              </a:ext>
            </a:extLst>
          </p:cNvPr>
          <p:cNvCxnSpPr>
            <a:stCxn id="14" idx="2"/>
            <a:endCxn id="15" idx="0"/>
          </p:cNvCxnSpPr>
          <p:nvPr/>
        </p:nvCxnSpPr>
        <p:spPr>
          <a:xfrm>
            <a:off x="5710748" y="2244168"/>
            <a:ext cx="1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2881109" y="2886744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4667719" y="2886744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6767719" y="3546811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cxnSpLocks/>
            <a:stCxn id="13" idx="0"/>
            <a:endCxn id="5" idx="2"/>
          </p:cNvCxnSpPr>
          <p:nvPr/>
        </p:nvCxnSpPr>
        <p:spPr>
          <a:xfrm flipV="1">
            <a:off x="7497359" y="3096525"/>
            <a:ext cx="0" cy="450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6767719" y="2676904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stCxn id="5" idx="1"/>
            <a:endCxn id="15" idx="3"/>
          </p:cNvCxnSpPr>
          <p:nvPr/>
        </p:nvCxnSpPr>
        <p:spPr>
          <a:xfrm flipH="1">
            <a:off x="6440388" y="2886715"/>
            <a:ext cx="327331" cy="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9356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5431707" cy="1269391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main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–b hotfix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vim </a:t>
            </a:r>
            <a:r>
              <a:rPr lang="en-US" sz="1400" dirty="0" err="1">
                <a:highlight>
                  <a:srgbClr val="CCEBD8"/>
                </a:highlight>
                <a:latin typeface="Consolas" panose="020B0609020204030204" pitchFamily="49" charset="0"/>
              </a:rPr>
              <a:t>hyperparams.json</a:t>
            </a:r>
            <a:endParaRPr lang="en-US" sz="14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ommit –a –m ‘Fix number of epochs’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C43C6AA-2D8C-45B1-9E93-FB4A7D117E2C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1A75AC-274D-88C2-1495-059502124E96}"/>
              </a:ext>
            </a:extLst>
          </p:cNvPr>
          <p:cNvSpPr/>
          <p:nvPr/>
        </p:nvSpPr>
        <p:spPr>
          <a:xfrm>
            <a:off x="5137683" y="1982487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5137684" y="2834874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1578403" y="2834874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3365014" y="2834873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6BEB73-A31B-8561-CC65-6B100CD27325}"/>
              </a:ext>
            </a:extLst>
          </p:cNvPr>
          <p:cNvCxnSpPr>
            <a:stCxn id="14" idx="2"/>
            <a:endCxn id="15" idx="0"/>
          </p:cNvCxnSpPr>
          <p:nvPr/>
        </p:nvCxnSpPr>
        <p:spPr>
          <a:xfrm>
            <a:off x="5867323" y="2402108"/>
            <a:ext cx="1" cy="432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3037684" y="3044684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4824294" y="3044684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6924294" y="4124372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cxnSpLocks/>
            <a:stCxn id="13" idx="0"/>
            <a:endCxn id="5" idx="2"/>
          </p:cNvCxnSpPr>
          <p:nvPr/>
        </p:nvCxnSpPr>
        <p:spPr>
          <a:xfrm flipV="1">
            <a:off x="7653934" y="3674086"/>
            <a:ext cx="0" cy="450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6924294" y="3254465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stCxn id="5" idx="1"/>
            <a:endCxn id="15" idx="3"/>
          </p:cNvCxnSpPr>
          <p:nvPr/>
        </p:nvCxnSpPr>
        <p:spPr>
          <a:xfrm flipH="1" flipV="1">
            <a:off x="6596963" y="3044685"/>
            <a:ext cx="327331" cy="4195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DD5BF-0C3B-6382-8D33-93C269B85B2B}"/>
              </a:ext>
            </a:extLst>
          </p:cNvPr>
          <p:cNvSpPr/>
          <p:nvPr/>
        </p:nvSpPr>
        <p:spPr>
          <a:xfrm>
            <a:off x="6924294" y="1546844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hotfix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E19A79-7700-5E22-5EBC-EE508F63247F}"/>
              </a:ext>
            </a:extLst>
          </p:cNvPr>
          <p:cNvCxnSpPr>
            <a:cxnSpLocks/>
            <a:stCxn id="11" idx="2"/>
            <a:endCxn id="22" idx="0"/>
          </p:cNvCxnSpPr>
          <p:nvPr/>
        </p:nvCxnSpPr>
        <p:spPr>
          <a:xfrm flipH="1">
            <a:off x="7653933" y="1966465"/>
            <a:ext cx="1" cy="450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65DFDA9-B3E7-3177-853F-E383EBEA4789}"/>
              </a:ext>
            </a:extLst>
          </p:cNvPr>
          <p:cNvSpPr/>
          <p:nvPr/>
        </p:nvSpPr>
        <p:spPr>
          <a:xfrm>
            <a:off x="6924293" y="2416751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4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0899BC6-6E8C-BE3E-CFD1-D13C8CC66A62}"/>
              </a:ext>
            </a:extLst>
          </p:cNvPr>
          <p:cNvCxnSpPr>
            <a:cxnSpLocks/>
            <a:stCxn id="22" idx="1"/>
            <a:endCxn id="15" idx="3"/>
          </p:cNvCxnSpPr>
          <p:nvPr/>
        </p:nvCxnSpPr>
        <p:spPr>
          <a:xfrm flipH="1">
            <a:off x="6596963" y="2626562"/>
            <a:ext cx="327330" cy="4181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5005892"/>
      </p:ext>
    </p:extLst>
  </p:cSld>
  <p:clrMapOvr>
    <a:masterClrMapping/>
  </p:clrMapOvr>
  <p:transition spd="slow" advClick="0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5431707" cy="3267292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main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merge hotfix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Updating f42c576..3a0874c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Fast-forward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dirty="0" err="1">
                <a:latin typeface="Consolas" panose="020B0609020204030204" pitchFamily="49" charset="0"/>
              </a:rPr>
              <a:t>hyperparams.json</a:t>
            </a:r>
            <a:r>
              <a:rPr lang="en-US" sz="1000" dirty="0">
                <a:latin typeface="Consolas" panose="020B0609020204030204" pitchFamily="49" charset="0"/>
              </a:rPr>
              <a:t> | 2 ++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1 file changed, 2 insertions(+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“fast-forward”: because C4 was directly ahead of C2</a:t>
            </a:r>
          </a:p>
          <a:p>
            <a:r>
              <a:rPr lang="en-US" dirty="0"/>
              <a:t>No divergent work to mer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961EA66-CB20-4CF7-8690-03B93EBCC674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1A75AC-274D-88C2-1495-059502124E96}"/>
              </a:ext>
            </a:extLst>
          </p:cNvPr>
          <p:cNvSpPr/>
          <p:nvPr/>
        </p:nvSpPr>
        <p:spPr>
          <a:xfrm>
            <a:off x="7062078" y="727500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5275470" y="2891118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1716189" y="2891118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3502800" y="2891117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16BEB73-A31B-8561-CC65-6B100CD27325}"/>
              </a:ext>
            </a:extLst>
          </p:cNvPr>
          <p:cNvCxnSpPr>
            <a:cxnSpLocks/>
            <a:stCxn id="14" idx="2"/>
            <a:endCxn id="11" idx="0"/>
          </p:cNvCxnSpPr>
          <p:nvPr/>
        </p:nvCxnSpPr>
        <p:spPr>
          <a:xfrm>
            <a:off x="7791718" y="1147121"/>
            <a:ext cx="2" cy="4559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3175470" y="3100928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4962080" y="3100928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7062080" y="4180616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cxnSpLocks/>
            <a:stCxn id="13" idx="0"/>
            <a:endCxn id="5" idx="2"/>
          </p:cNvCxnSpPr>
          <p:nvPr/>
        </p:nvCxnSpPr>
        <p:spPr>
          <a:xfrm flipV="1">
            <a:off x="7791720" y="3730330"/>
            <a:ext cx="0" cy="450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7062080" y="3310709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stCxn id="5" idx="1"/>
            <a:endCxn id="15" idx="3"/>
          </p:cNvCxnSpPr>
          <p:nvPr/>
        </p:nvCxnSpPr>
        <p:spPr>
          <a:xfrm flipH="1" flipV="1">
            <a:off x="6734749" y="3100929"/>
            <a:ext cx="327331" cy="4195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DD5BF-0C3B-6382-8D33-93C269B85B2B}"/>
              </a:ext>
            </a:extLst>
          </p:cNvPr>
          <p:cNvSpPr/>
          <p:nvPr/>
        </p:nvSpPr>
        <p:spPr>
          <a:xfrm>
            <a:off x="7062080" y="1603088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hotfix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E19A79-7700-5E22-5EBC-EE508F63247F}"/>
              </a:ext>
            </a:extLst>
          </p:cNvPr>
          <p:cNvCxnSpPr>
            <a:cxnSpLocks/>
            <a:stCxn id="11" idx="2"/>
            <a:endCxn id="22" idx="0"/>
          </p:cNvCxnSpPr>
          <p:nvPr/>
        </p:nvCxnSpPr>
        <p:spPr>
          <a:xfrm flipH="1">
            <a:off x="7791719" y="2022709"/>
            <a:ext cx="1" cy="450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65DFDA9-B3E7-3177-853F-E383EBEA4789}"/>
              </a:ext>
            </a:extLst>
          </p:cNvPr>
          <p:cNvSpPr/>
          <p:nvPr/>
        </p:nvSpPr>
        <p:spPr>
          <a:xfrm>
            <a:off x="7062079" y="2472995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4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0899BC6-6E8C-BE3E-CFD1-D13C8CC66A62}"/>
              </a:ext>
            </a:extLst>
          </p:cNvPr>
          <p:cNvCxnSpPr>
            <a:cxnSpLocks/>
            <a:stCxn id="22" idx="1"/>
            <a:endCxn id="15" idx="3"/>
          </p:cNvCxnSpPr>
          <p:nvPr/>
        </p:nvCxnSpPr>
        <p:spPr>
          <a:xfrm flipH="1">
            <a:off x="6734749" y="2682806"/>
            <a:ext cx="327330" cy="4181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578791"/>
      </p:ext>
    </p:extLst>
  </p:cSld>
  <p:clrMapOvr>
    <a:masterClrMapping/>
  </p:clrMapOvr>
  <p:transition spd="slow" advClick="0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4319439" cy="3267292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branch –d hotfix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feature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vim model.py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ommit –a –m ‘Add another layer’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Note: </a:t>
            </a:r>
            <a:r>
              <a:rPr lang="en-US" dirty="0"/>
              <a:t>the work on the hotfix branch is not contained in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866D9A7-DD9B-4645-AAFB-6037F4C5D0F1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3883131" y="2532525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323850" y="2532525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2110461" y="2532524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1783131" y="2742335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3569741" y="2742335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7432720" y="4254179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cxnSpLocks/>
            <a:stCxn id="13" idx="0"/>
            <a:endCxn id="31" idx="2"/>
          </p:cNvCxnSpPr>
          <p:nvPr/>
        </p:nvCxnSpPr>
        <p:spPr>
          <a:xfrm flipV="1">
            <a:off x="8162360" y="3849752"/>
            <a:ext cx="1" cy="4044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5655799" y="3430132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stCxn id="5" idx="1"/>
            <a:endCxn id="15" idx="3"/>
          </p:cNvCxnSpPr>
          <p:nvPr/>
        </p:nvCxnSpPr>
        <p:spPr>
          <a:xfrm flipH="1" flipV="1">
            <a:off x="5342410" y="2742336"/>
            <a:ext cx="313389" cy="8976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DD5BF-0C3B-6382-8D33-93C269B85B2B}"/>
              </a:ext>
            </a:extLst>
          </p:cNvPr>
          <p:cNvSpPr/>
          <p:nvPr/>
        </p:nvSpPr>
        <p:spPr>
          <a:xfrm>
            <a:off x="5655798" y="1707340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E19A79-7700-5E22-5EBC-EE508F63247F}"/>
              </a:ext>
            </a:extLst>
          </p:cNvPr>
          <p:cNvCxnSpPr>
            <a:cxnSpLocks/>
            <a:stCxn id="11" idx="2"/>
            <a:endCxn id="22" idx="0"/>
          </p:cNvCxnSpPr>
          <p:nvPr/>
        </p:nvCxnSpPr>
        <p:spPr>
          <a:xfrm>
            <a:off x="6385438" y="2126961"/>
            <a:ext cx="2" cy="4055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65DFDA9-B3E7-3177-853F-E383EBEA4789}"/>
              </a:ext>
            </a:extLst>
          </p:cNvPr>
          <p:cNvSpPr/>
          <p:nvPr/>
        </p:nvSpPr>
        <p:spPr>
          <a:xfrm>
            <a:off x="5655800" y="2532523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4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0899BC6-6E8C-BE3E-CFD1-D13C8CC66A62}"/>
              </a:ext>
            </a:extLst>
          </p:cNvPr>
          <p:cNvCxnSpPr>
            <a:cxnSpLocks/>
            <a:stCxn id="22" idx="1"/>
            <a:endCxn id="15" idx="3"/>
          </p:cNvCxnSpPr>
          <p:nvPr/>
        </p:nvCxnSpPr>
        <p:spPr>
          <a:xfrm flipH="1">
            <a:off x="5342410" y="2742334"/>
            <a:ext cx="313390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42D716C1-FEA0-126D-574E-4880ADD4192B}"/>
              </a:ext>
            </a:extLst>
          </p:cNvPr>
          <p:cNvSpPr/>
          <p:nvPr/>
        </p:nvSpPr>
        <p:spPr>
          <a:xfrm>
            <a:off x="7432721" y="3430131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5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BD0904C-B0E6-FD44-34C9-3CC2DBB357F5}"/>
              </a:ext>
            </a:extLst>
          </p:cNvPr>
          <p:cNvCxnSpPr>
            <a:stCxn id="31" idx="1"/>
            <a:endCxn id="5" idx="3"/>
          </p:cNvCxnSpPr>
          <p:nvPr/>
        </p:nvCxnSpPr>
        <p:spPr>
          <a:xfrm flipH="1">
            <a:off x="7115078" y="3639942"/>
            <a:ext cx="317643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8002811"/>
      </p:ext>
    </p:extLst>
  </p:cSld>
  <p:clrMapOvr>
    <a:masterClrMapping/>
  </p:clrMapOvr>
  <p:transition spd="slow" advClick="0"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4761564" cy="3267292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main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merge feature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Merge made by the 'recursive' strategy.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model.py |    1 +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1 file changed, 1 insertion(+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r>
              <a:rPr lang="en-US" dirty="0"/>
              <a:t>Commit on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is not a direct ancestor of latest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r>
              <a:rPr lang="en-US" dirty="0"/>
              <a:t> commit</a:t>
            </a:r>
          </a:p>
          <a:p>
            <a:r>
              <a:rPr lang="en-US" dirty="0"/>
              <a:t>Git does a simple three-way mer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021055F-2F1D-401E-B14B-0A79CC4238A0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3883131" y="2532525"/>
            <a:ext cx="1459279" cy="419621"/>
          </a:xfrm>
          <a:prstGeom prst="rect">
            <a:avLst/>
          </a:prstGeom>
          <a:solidFill>
            <a:schemeClr val="accent3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323850" y="2532525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2110461" y="2532524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stCxn id="17" idx="1"/>
            <a:endCxn id="16" idx="3"/>
          </p:cNvCxnSpPr>
          <p:nvPr/>
        </p:nvCxnSpPr>
        <p:spPr>
          <a:xfrm flipH="1">
            <a:off x="1783131" y="2742335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3569741" y="2742335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7432720" y="4254179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cxnSpLocks/>
            <a:stCxn id="13" idx="0"/>
            <a:endCxn id="31" idx="2"/>
          </p:cNvCxnSpPr>
          <p:nvPr/>
        </p:nvCxnSpPr>
        <p:spPr>
          <a:xfrm flipV="1">
            <a:off x="8162360" y="3849752"/>
            <a:ext cx="1" cy="4044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5655799" y="3430132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stCxn id="5" idx="1"/>
            <a:endCxn id="15" idx="3"/>
          </p:cNvCxnSpPr>
          <p:nvPr/>
        </p:nvCxnSpPr>
        <p:spPr>
          <a:xfrm flipH="1" flipV="1">
            <a:off x="5342410" y="2742336"/>
            <a:ext cx="313389" cy="8976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DD5BF-0C3B-6382-8D33-93C269B85B2B}"/>
              </a:ext>
            </a:extLst>
          </p:cNvPr>
          <p:cNvSpPr/>
          <p:nvPr/>
        </p:nvSpPr>
        <p:spPr>
          <a:xfrm>
            <a:off x="5655798" y="1707340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E19A79-7700-5E22-5EBC-EE508F63247F}"/>
              </a:ext>
            </a:extLst>
          </p:cNvPr>
          <p:cNvCxnSpPr>
            <a:cxnSpLocks/>
            <a:stCxn id="11" idx="2"/>
            <a:endCxn id="22" idx="0"/>
          </p:cNvCxnSpPr>
          <p:nvPr/>
        </p:nvCxnSpPr>
        <p:spPr>
          <a:xfrm>
            <a:off x="6385438" y="2126961"/>
            <a:ext cx="2" cy="4055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65DFDA9-B3E7-3177-853F-E383EBEA4789}"/>
              </a:ext>
            </a:extLst>
          </p:cNvPr>
          <p:cNvSpPr/>
          <p:nvPr/>
        </p:nvSpPr>
        <p:spPr>
          <a:xfrm>
            <a:off x="5655800" y="2532523"/>
            <a:ext cx="1459279" cy="419621"/>
          </a:xfrm>
          <a:prstGeom prst="rect">
            <a:avLst/>
          </a:prstGeom>
          <a:solidFill>
            <a:schemeClr val="accent3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4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0899BC6-6E8C-BE3E-CFD1-D13C8CC66A62}"/>
              </a:ext>
            </a:extLst>
          </p:cNvPr>
          <p:cNvCxnSpPr>
            <a:cxnSpLocks/>
            <a:stCxn id="22" idx="1"/>
            <a:endCxn id="15" idx="3"/>
          </p:cNvCxnSpPr>
          <p:nvPr/>
        </p:nvCxnSpPr>
        <p:spPr>
          <a:xfrm flipH="1">
            <a:off x="5342410" y="2742334"/>
            <a:ext cx="313390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42D716C1-FEA0-126D-574E-4880ADD4192B}"/>
              </a:ext>
            </a:extLst>
          </p:cNvPr>
          <p:cNvSpPr/>
          <p:nvPr/>
        </p:nvSpPr>
        <p:spPr>
          <a:xfrm>
            <a:off x="7432721" y="3430131"/>
            <a:ext cx="1459279" cy="419621"/>
          </a:xfrm>
          <a:prstGeom prst="rect">
            <a:avLst/>
          </a:prstGeom>
          <a:solidFill>
            <a:schemeClr val="accent3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5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BD0904C-B0E6-FD44-34C9-3CC2DBB357F5}"/>
              </a:ext>
            </a:extLst>
          </p:cNvPr>
          <p:cNvCxnSpPr>
            <a:stCxn id="31" idx="1"/>
            <a:endCxn id="5" idx="3"/>
          </p:cNvCxnSpPr>
          <p:nvPr/>
        </p:nvCxnSpPr>
        <p:spPr>
          <a:xfrm flipH="1">
            <a:off x="7115078" y="3639942"/>
            <a:ext cx="317643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6ACCF59-C138-15EB-86C3-FDC6AC8595AD}"/>
              </a:ext>
            </a:extLst>
          </p:cNvPr>
          <p:cNvSpPr txBox="1"/>
          <p:nvPr/>
        </p:nvSpPr>
        <p:spPr>
          <a:xfrm>
            <a:off x="4153560" y="1965080"/>
            <a:ext cx="9797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latin typeface="Consolas" panose="020B0609020204030204" pitchFamily="49" charset="0"/>
              </a:rPr>
              <a:t>Common</a:t>
            </a:r>
          </a:p>
          <a:p>
            <a:pPr algn="ctr"/>
            <a:r>
              <a:rPr lang="de-DE" sz="1400" dirty="0" err="1">
                <a:latin typeface="Consolas" panose="020B0609020204030204" pitchFamily="49" charset="0"/>
              </a:rPr>
              <a:t>Ancestor</a:t>
            </a:r>
            <a:endParaRPr lang="de-DE" sz="1400" dirty="0">
              <a:latin typeface="Consolas" panose="020B0609020204030204" pitchFamily="49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643049-E736-A6B7-C25E-54F5B8A3AFC9}"/>
              </a:ext>
            </a:extLst>
          </p:cNvPr>
          <p:cNvSpPr txBox="1"/>
          <p:nvPr/>
        </p:nvSpPr>
        <p:spPr>
          <a:xfrm>
            <a:off x="7185563" y="2096871"/>
            <a:ext cx="12779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latin typeface="Consolas" panose="020B0609020204030204" pitchFamily="49" charset="0"/>
              </a:rPr>
              <a:t>Snapshot </a:t>
            </a:r>
            <a:r>
              <a:rPr lang="de-DE" sz="1400" dirty="0" err="1">
                <a:latin typeface="Consolas" panose="020B0609020204030204" pitchFamily="49" charset="0"/>
              </a:rPr>
              <a:t>to</a:t>
            </a:r>
            <a:endParaRPr lang="de-DE" sz="1400" dirty="0">
              <a:latin typeface="Consolas" panose="020B0609020204030204" pitchFamily="49" charset="0"/>
            </a:endParaRPr>
          </a:p>
          <a:p>
            <a:pPr algn="ctr"/>
            <a:r>
              <a:rPr lang="de-DE" sz="1400" dirty="0" err="1">
                <a:latin typeface="Consolas" panose="020B0609020204030204" pitchFamily="49" charset="0"/>
              </a:rPr>
              <a:t>Merge</a:t>
            </a:r>
            <a:r>
              <a:rPr lang="de-DE" sz="1400" dirty="0">
                <a:latin typeface="Consolas" panose="020B0609020204030204" pitchFamily="49" charset="0"/>
              </a:rPr>
              <a:t> </a:t>
            </a:r>
            <a:r>
              <a:rPr lang="de-DE" sz="1400" dirty="0" err="1">
                <a:latin typeface="Consolas" panose="020B0609020204030204" pitchFamily="49" charset="0"/>
              </a:rPr>
              <a:t>Into</a:t>
            </a:r>
            <a:endParaRPr lang="de-DE" sz="1400" dirty="0">
              <a:latin typeface="Consolas" panose="020B0609020204030204" pitchFamily="49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A1619AE-4938-E9A1-5633-0EE28881584A}"/>
              </a:ext>
            </a:extLst>
          </p:cNvPr>
          <p:cNvSpPr txBox="1"/>
          <p:nvPr/>
        </p:nvSpPr>
        <p:spPr>
          <a:xfrm>
            <a:off x="7523404" y="2856729"/>
            <a:ext cx="12779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latin typeface="Consolas" panose="020B0609020204030204" pitchFamily="49" charset="0"/>
              </a:rPr>
              <a:t>Snapshot </a:t>
            </a:r>
            <a:r>
              <a:rPr lang="de-DE" sz="1400" dirty="0" err="1">
                <a:latin typeface="Consolas" panose="020B0609020204030204" pitchFamily="49" charset="0"/>
              </a:rPr>
              <a:t>to</a:t>
            </a:r>
            <a:endParaRPr lang="de-DE" sz="1400" dirty="0">
              <a:latin typeface="Consolas" panose="020B0609020204030204" pitchFamily="49" charset="0"/>
            </a:endParaRPr>
          </a:p>
          <a:p>
            <a:pPr algn="ctr"/>
            <a:r>
              <a:rPr lang="de-DE" sz="1400" dirty="0" err="1">
                <a:latin typeface="Consolas" panose="020B0609020204030204" pitchFamily="49" charset="0"/>
              </a:rPr>
              <a:t>Merge</a:t>
            </a:r>
            <a:r>
              <a:rPr lang="de-DE" sz="1400" dirty="0">
                <a:latin typeface="Consolas" panose="020B0609020204030204" pitchFamily="49" charset="0"/>
              </a:rPr>
              <a:t> In</a:t>
            </a:r>
          </a:p>
        </p:txBody>
      </p:sp>
    </p:spTree>
    <p:extLst>
      <p:ext uri="{BB962C8B-B14F-4D97-AF65-F5344CB8AC3E}">
        <p14:creationId xmlns:p14="http://schemas.microsoft.com/office/powerpoint/2010/main" val="2023201900"/>
      </p:ext>
    </p:extLst>
  </p:cSld>
  <p:clrMapOvr>
    <a:masterClrMapping/>
  </p:clrMapOvr>
  <p:transition spd="slow" advClick="0"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8" y="1060450"/>
            <a:ext cx="5888911" cy="3267292"/>
          </a:xfrm>
        </p:spPr>
        <p:txBody>
          <a:bodyPr/>
          <a:lstStyle/>
          <a:p>
            <a:r>
              <a:rPr lang="en-US" dirty="0"/>
              <a:t>Git creates a new snapshot that results from this three-way merge</a:t>
            </a:r>
          </a:p>
          <a:p>
            <a:r>
              <a:rPr lang="en-US" dirty="0"/>
              <a:t>Git automatically creates a new commit that points to it</a:t>
            </a:r>
          </a:p>
          <a:p>
            <a:r>
              <a:rPr lang="en-US" dirty="0"/>
              <a:t>This referred to as a </a:t>
            </a:r>
            <a:r>
              <a:rPr lang="en-US" b="1" dirty="0"/>
              <a:t>merge commit</a:t>
            </a:r>
            <a:r>
              <a:rPr lang="en-US" dirty="0"/>
              <a:t>, which has more than one parent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sz="14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branch –d fea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F601317-A3D7-43C9-9178-9EBDF926337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3386023" y="2452385"/>
            <a:ext cx="998578" cy="419621"/>
          </a:xfrm>
          <a:prstGeom prst="rect">
            <a:avLst/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428199" y="2452382"/>
            <a:ext cx="998578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1907111" y="2452384"/>
            <a:ext cx="998578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cxnSpLocks/>
            <a:stCxn id="17" idx="1"/>
            <a:endCxn id="16" idx="3"/>
          </p:cNvCxnSpPr>
          <p:nvPr/>
        </p:nvCxnSpPr>
        <p:spPr>
          <a:xfrm flipH="1" flipV="1">
            <a:off x="1426777" y="2662193"/>
            <a:ext cx="480334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cxnSpLocks/>
            <a:stCxn id="15" idx="1"/>
            <a:endCxn id="17" idx="3"/>
          </p:cNvCxnSpPr>
          <p:nvPr/>
        </p:nvCxnSpPr>
        <p:spPr>
          <a:xfrm flipH="1" flipV="1">
            <a:off x="2905689" y="2662195"/>
            <a:ext cx="48033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4864935" y="3245085"/>
            <a:ext cx="998578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cxnSpLocks/>
            <a:stCxn id="5" idx="1"/>
            <a:endCxn id="15" idx="3"/>
          </p:cNvCxnSpPr>
          <p:nvPr/>
        </p:nvCxnSpPr>
        <p:spPr>
          <a:xfrm flipH="1" flipV="1">
            <a:off x="4384601" y="2662196"/>
            <a:ext cx="480334" cy="7927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DD5BF-0C3B-6382-8D33-93C269B85B2B}"/>
              </a:ext>
            </a:extLst>
          </p:cNvPr>
          <p:cNvSpPr/>
          <p:nvPr/>
        </p:nvSpPr>
        <p:spPr>
          <a:xfrm>
            <a:off x="7822759" y="1647320"/>
            <a:ext cx="997243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E19A79-7700-5E22-5EBC-EE508F63247F}"/>
              </a:ext>
            </a:extLst>
          </p:cNvPr>
          <p:cNvCxnSpPr>
            <a:cxnSpLocks/>
            <a:stCxn id="11" idx="2"/>
            <a:endCxn id="72" idx="0"/>
          </p:cNvCxnSpPr>
          <p:nvPr/>
        </p:nvCxnSpPr>
        <p:spPr>
          <a:xfrm>
            <a:off x="8321381" y="2066941"/>
            <a:ext cx="0" cy="3854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65DFDA9-B3E7-3177-853F-E383EBEA4789}"/>
              </a:ext>
            </a:extLst>
          </p:cNvPr>
          <p:cNvSpPr/>
          <p:nvPr/>
        </p:nvSpPr>
        <p:spPr>
          <a:xfrm>
            <a:off x="4864935" y="2452383"/>
            <a:ext cx="998578" cy="419621"/>
          </a:xfrm>
          <a:prstGeom prst="rect">
            <a:avLst/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4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0899BC6-6E8C-BE3E-CFD1-D13C8CC66A62}"/>
              </a:ext>
            </a:extLst>
          </p:cNvPr>
          <p:cNvCxnSpPr>
            <a:cxnSpLocks/>
            <a:stCxn id="22" idx="1"/>
            <a:endCxn id="15" idx="3"/>
          </p:cNvCxnSpPr>
          <p:nvPr/>
        </p:nvCxnSpPr>
        <p:spPr>
          <a:xfrm flipH="1">
            <a:off x="4384601" y="2662194"/>
            <a:ext cx="480334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42D716C1-FEA0-126D-574E-4880ADD4192B}"/>
              </a:ext>
            </a:extLst>
          </p:cNvPr>
          <p:cNvSpPr/>
          <p:nvPr/>
        </p:nvSpPr>
        <p:spPr>
          <a:xfrm>
            <a:off x="6343847" y="3245084"/>
            <a:ext cx="997243" cy="419621"/>
          </a:xfrm>
          <a:prstGeom prst="rect">
            <a:avLst/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5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BD0904C-B0E6-FD44-34C9-3CC2DBB357F5}"/>
              </a:ext>
            </a:extLst>
          </p:cNvPr>
          <p:cNvCxnSpPr>
            <a:cxnSpLocks/>
            <a:stCxn id="31" idx="1"/>
            <a:endCxn id="5" idx="3"/>
          </p:cNvCxnSpPr>
          <p:nvPr/>
        </p:nvCxnSpPr>
        <p:spPr>
          <a:xfrm flipH="1">
            <a:off x="5863513" y="3454895"/>
            <a:ext cx="48033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F9547DF6-C936-2671-4363-C56409D5DAEB}"/>
              </a:ext>
            </a:extLst>
          </p:cNvPr>
          <p:cNvSpPr/>
          <p:nvPr/>
        </p:nvSpPr>
        <p:spPr>
          <a:xfrm>
            <a:off x="7822759" y="2452382"/>
            <a:ext cx="997243" cy="419621"/>
          </a:xfrm>
          <a:prstGeom prst="rect">
            <a:avLst/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6</a:t>
            </a: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12ABDD52-E474-25F8-35B4-2A62979BB943}"/>
              </a:ext>
            </a:extLst>
          </p:cNvPr>
          <p:cNvCxnSpPr>
            <a:stCxn id="72" idx="1"/>
            <a:endCxn id="22" idx="3"/>
          </p:cNvCxnSpPr>
          <p:nvPr/>
        </p:nvCxnSpPr>
        <p:spPr>
          <a:xfrm flipH="1">
            <a:off x="5863513" y="2662193"/>
            <a:ext cx="195924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0A45B843-5FFC-7867-8FFB-E588C164AF75}"/>
              </a:ext>
            </a:extLst>
          </p:cNvPr>
          <p:cNvCxnSpPr>
            <a:stCxn id="72" idx="1"/>
            <a:endCxn id="31" idx="3"/>
          </p:cNvCxnSpPr>
          <p:nvPr/>
        </p:nvCxnSpPr>
        <p:spPr>
          <a:xfrm flipH="1">
            <a:off x="7341090" y="2662193"/>
            <a:ext cx="481669" cy="7927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7949197"/>
      </p:ext>
    </p:extLst>
  </p:cSld>
  <p:clrMapOvr>
    <a:masterClrMapping/>
  </p:clrMapOvr>
  <p:transition spd="slow" advClick="0"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rge</a:t>
            </a:r>
            <a:r>
              <a:rPr lang="de-DE" dirty="0"/>
              <a:t> </a:t>
            </a:r>
            <a:r>
              <a:rPr lang="de-DE" dirty="0" err="1"/>
              <a:t>Conflicts</a:t>
            </a:r>
            <a:endParaRPr lang="de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0BD1E40-C8C9-0ADC-70F8-FDCE40BBAF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693BA99-4020-3000-16D6-96C02583B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ame files changed differently in two branches (e.g.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hotfix</a:t>
            </a:r>
            <a:r>
              <a:rPr lang="en-US" dirty="0"/>
              <a:t> and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):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merge feature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Auto-merging model.py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CONFLICT (content): Merge conflict in model.py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Automatic merge failed; fix conflicts and then commit the result.</a:t>
            </a:r>
          </a:p>
          <a:p>
            <a:r>
              <a:rPr lang="en-US" dirty="0"/>
              <a:t>Git pauses the merge while you can resolve the conflict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status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On branch main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You have unmerged paths.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(fix conflicts and run "git commit")</a:t>
            </a:r>
            <a:br>
              <a:rPr lang="en-US" sz="1000" dirty="0">
                <a:latin typeface="Consolas" panose="020B0609020204030204" pitchFamily="49" charset="0"/>
              </a:rPr>
            </a:b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Unmerged paths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(use "git add &lt;file&gt;..." to mark resolution)</a:t>
            </a:r>
            <a:br>
              <a:rPr lang="en-US" sz="1000" dirty="0">
                <a:latin typeface="Consolas" panose="020B0609020204030204" pitchFamily="49" charset="0"/>
              </a:rPr>
            </a:b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both modified:      model.py</a:t>
            </a:r>
            <a:br>
              <a:rPr lang="en-US" sz="1000" dirty="0">
                <a:latin typeface="Consolas" panose="020B0609020204030204" pitchFamily="49" charset="0"/>
              </a:rPr>
            </a:b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no changes added to commit (use "git add" and/or "git commit -a"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EF920B5-7BAB-4DC8-B857-89221EA1BE9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0496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olve </a:t>
            </a:r>
            <a:r>
              <a:rPr lang="de-DE" dirty="0" err="1"/>
              <a:t>Merge</a:t>
            </a:r>
            <a:r>
              <a:rPr lang="de-DE" dirty="0"/>
              <a:t> </a:t>
            </a:r>
            <a:r>
              <a:rPr lang="de-DE" dirty="0" err="1"/>
              <a:t>Conflict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935ADD-88FA-95B5-49ED-3E04DB613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DFFDAF-5BDB-CF4D-30AC-571A724ACC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it adds standard conflict-resolution markers to files with conflicts</a:t>
            </a:r>
          </a:p>
          <a:p>
            <a:r>
              <a:rPr lang="en-US" dirty="0"/>
              <a:t>You can open them and resolve the conflicts:</a:t>
            </a:r>
            <a:br>
              <a:rPr lang="en-US" dirty="0"/>
            </a:br>
            <a:endParaRPr lang="en-US" sz="1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&lt;&lt;&lt;&lt;&lt;&lt;&lt; </a:t>
            </a:r>
            <a:r>
              <a:rPr lang="en-US" sz="1000" dirty="0" err="1">
                <a:latin typeface="Consolas" panose="020B0609020204030204" pitchFamily="49" charset="0"/>
              </a:rPr>
              <a:t>HEAD:model.py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my_var</a:t>
            </a:r>
            <a:r>
              <a:rPr lang="en-US" sz="1000" dirty="0">
                <a:latin typeface="Consolas" panose="020B0609020204030204" pitchFamily="49" charset="0"/>
              </a:rPr>
              <a:t> = </a:t>
            </a:r>
            <a:r>
              <a:rPr lang="en-US" sz="1000" dirty="0" err="1">
                <a:latin typeface="Consolas" panose="020B0609020204030204" pitchFamily="49" charset="0"/>
              </a:rPr>
              <a:t>other_var</a:t>
            </a:r>
            <a:r>
              <a:rPr lang="en-US" sz="1000" dirty="0">
                <a:latin typeface="Consolas" panose="020B0609020204030204" pitchFamily="49" charset="0"/>
              </a:rPr>
              <a:t> + </a:t>
            </a:r>
            <a:r>
              <a:rPr lang="en-US" sz="1000" dirty="0" err="1">
                <a:latin typeface="Consolas" panose="020B0609020204030204" pitchFamily="49" charset="0"/>
              </a:rPr>
              <a:t>another_var</a:t>
            </a:r>
            <a:r>
              <a:rPr lang="en-US" sz="1000" dirty="0">
                <a:latin typeface="Consolas" panose="020B0609020204030204" pitchFamily="49" charset="0"/>
              </a:rPr>
              <a:t> + 27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=======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my_var</a:t>
            </a:r>
            <a:r>
              <a:rPr lang="en-US" sz="1000" dirty="0">
                <a:latin typeface="Consolas" panose="020B0609020204030204" pitchFamily="49" charset="0"/>
              </a:rPr>
              <a:t> = </a:t>
            </a:r>
            <a:r>
              <a:rPr lang="en-US" sz="1000" dirty="0" err="1">
                <a:latin typeface="Consolas" panose="020B0609020204030204" pitchFamily="49" charset="0"/>
              </a:rPr>
              <a:t>other_var</a:t>
            </a:r>
            <a:r>
              <a:rPr lang="en-US" sz="1000" dirty="0">
                <a:latin typeface="Consolas" panose="020B0609020204030204" pitchFamily="49" charset="0"/>
              </a:rPr>
              <a:t> + 30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&gt;&gt;&gt;&gt;&gt;&gt;&gt; feature: model.py</a:t>
            </a:r>
            <a:br>
              <a:rPr lang="en-US" sz="1200" dirty="0">
                <a:latin typeface="Consolas" panose="020B0609020204030204" pitchFamily="49" charset="0"/>
              </a:rPr>
            </a:br>
            <a:endParaRPr lang="en-US" sz="1200" dirty="0">
              <a:latin typeface="Consolas" panose="020B0609020204030204" pitchFamily="49" charset="0"/>
            </a:endParaRPr>
          </a:p>
          <a:p>
            <a:r>
              <a:rPr lang="en-US" dirty="0"/>
              <a:t>The version in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HEAD</a:t>
            </a:r>
            <a:r>
              <a:rPr lang="en-US" dirty="0"/>
              <a:t> (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r>
              <a:rPr lang="en-US" dirty="0"/>
              <a:t>) is the top part</a:t>
            </a:r>
          </a:p>
          <a:p>
            <a:r>
              <a:rPr lang="en-US" dirty="0"/>
              <a:t>The version in 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is the bottom part</a:t>
            </a:r>
          </a:p>
          <a:p>
            <a:r>
              <a:rPr lang="en-US" dirty="0"/>
              <a:t>You can choose one or the other, or merge the contents yourself, e.g.: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r>
              <a:rPr lang="en-US" sz="1000" dirty="0" err="1">
                <a:latin typeface="Consolas" panose="020B0609020204030204" pitchFamily="49" charset="0"/>
              </a:rPr>
              <a:t>my_var</a:t>
            </a:r>
            <a:r>
              <a:rPr lang="en-US" sz="1000" dirty="0">
                <a:latin typeface="Consolas" panose="020B0609020204030204" pitchFamily="49" charset="0"/>
              </a:rPr>
              <a:t> = </a:t>
            </a:r>
            <a:r>
              <a:rPr lang="en-US" sz="1000" dirty="0" err="1">
                <a:latin typeface="Consolas" panose="020B0609020204030204" pitchFamily="49" charset="0"/>
              </a:rPr>
              <a:t>other_var</a:t>
            </a:r>
            <a:r>
              <a:rPr lang="en-US" sz="1000" dirty="0">
                <a:latin typeface="Consolas" panose="020B0609020204030204" pitchFamily="49" charset="0"/>
              </a:rPr>
              <a:t> + </a:t>
            </a:r>
            <a:r>
              <a:rPr lang="en-US" sz="1000" dirty="0" err="1">
                <a:latin typeface="Consolas" panose="020B0609020204030204" pitchFamily="49" charset="0"/>
              </a:rPr>
              <a:t>another_var</a:t>
            </a:r>
            <a:r>
              <a:rPr lang="en-US" sz="1000" dirty="0">
                <a:latin typeface="Consolas" panose="020B0609020204030204" pitchFamily="49" charset="0"/>
              </a:rPr>
              <a:t> + 3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A100B76-5C0A-55FB-C31B-57E76EC2E0C0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add model.py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status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On branch main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All conflicts fixed but you are still merging.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(use "git commit" to conclude merge)</a:t>
            </a:r>
            <a:br>
              <a:rPr lang="en-US" sz="1000" dirty="0">
                <a:latin typeface="Consolas" panose="020B0609020204030204" pitchFamily="49" charset="0"/>
              </a:rPr>
            </a:b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Changes to be committed:</a:t>
            </a:r>
            <a:br>
              <a:rPr lang="en-US" sz="1000" dirty="0">
                <a:latin typeface="Consolas" panose="020B0609020204030204" pitchFamily="49" charset="0"/>
              </a:rPr>
            </a:b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modified:   model.py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commi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938DB39-6A3E-459D-8FD8-DBF2BF2C27D8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6303524"/>
      </p:ext>
    </p:extLst>
  </p:cSld>
  <p:clrMapOvr>
    <a:masterClrMapping/>
  </p:clrMapOvr>
  <p:transition spd="slow" advClick="0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EE817F-506E-1BF6-FAD7-446D83966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1AC2EB-CE47-6B7A-8FC6-A8C0CBE92E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AE204-0BEC-48B3-9625-F936F9A3394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693A8C-6AF0-3D86-CB8D-BAAACCDDF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B663AE-86D3-E82E-424F-8417B7948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6391551"/>
      </p:ext>
    </p:extLst>
  </p:cSld>
  <p:clrMapOvr>
    <a:masterClrMapping/>
  </p:clrMapOvr>
  <p:transition spd="slow" advClick="0"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bas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5769910" cy="1269391"/>
          </a:xfrm>
        </p:spPr>
        <p:txBody>
          <a:bodyPr/>
          <a:lstStyle/>
          <a:p>
            <a:r>
              <a:rPr lang="en-US" dirty="0"/>
              <a:t>Rebase is another way to integrate changes from another branch</a:t>
            </a:r>
          </a:p>
          <a:p>
            <a:r>
              <a:rPr lang="en-US" dirty="0"/>
              <a:t>Reconsider this state of a repository: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2AAF212-AD71-4B99-B941-CB50BA94BCC8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4605327" y="2991667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1046046" y="2991667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2832657" y="2991666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cxnSpLocks/>
            <a:stCxn id="17" idx="1"/>
            <a:endCxn id="16" idx="3"/>
          </p:cNvCxnSpPr>
          <p:nvPr/>
        </p:nvCxnSpPr>
        <p:spPr>
          <a:xfrm flipH="1">
            <a:off x="2505327" y="3201477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4291937" y="3201477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6391938" y="3861544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cxnSpLocks/>
            <a:stCxn id="13" idx="0"/>
            <a:endCxn id="5" idx="2"/>
          </p:cNvCxnSpPr>
          <p:nvPr/>
        </p:nvCxnSpPr>
        <p:spPr>
          <a:xfrm flipV="1">
            <a:off x="7121578" y="3411258"/>
            <a:ext cx="0" cy="450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6391938" y="2991637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stCxn id="5" idx="1"/>
            <a:endCxn id="15" idx="3"/>
          </p:cNvCxnSpPr>
          <p:nvPr/>
        </p:nvCxnSpPr>
        <p:spPr>
          <a:xfrm flipH="1">
            <a:off x="6064606" y="3201448"/>
            <a:ext cx="327332" cy="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DD5BF-0C3B-6382-8D33-93C269B85B2B}"/>
              </a:ext>
            </a:extLst>
          </p:cNvPr>
          <p:cNvSpPr/>
          <p:nvPr/>
        </p:nvSpPr>
        <p:spPr>
          <a:xfrm>
            <a:off x="6391938" y="1338573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E19A79-7700-5E22-5EBC-EE508F63247F}"/>
              </a:ext>
            </a:extLst>
          </p:cNvPr>
          <p:cNvCxnSpPr>
            <a:cxnSpLocks/>
            <a:stCxn id="11" idx="2"/>
            <a:endCxn id="22" idx="0"/>
          </p:cNvCxnSpPr>
          <p:nvPr/>
        </p:nvCxnSpPr>
        <p:spPr>
          <a:xfrm flipH="1">
            <a:off x="7121577" y="1758194"/>
            <a:ext cx="1" cy="450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65DFDA9-B3E7-3177-853F-E383EBEA4789}"/>
              </a:ext>
            </a:extLst>
          </p:cNvPr>
          <p:cNvSpPr/>
          <p:nvPr/>
        </p:nvSpPr>
        <p:spPr>
          <a:xfrm>
            <a:off x="6391937" y="2208480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4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0899BC6-6E8C-BE3E-CFD1-D13C8CC66A62}"/>
              </a:ext>
            </a:extLst>
          </p:cNvPr>
          <p:cNvCxnSpPr>
            <a:cxnSpLocks/>
            <a:stCxn id="22" idx="1"/>
            <a:endCxn id="15" idx="3"/>
          </p:cNvCxnSpPr>
          <p:nvPr/>
        </p:nvCxnSpPr>
        <p:spPr>
          <a:xfrm flipH="1">
            <a:off x="6064606" y="2418291"/>
            <a:ext cx="327331" cy="7831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166998"/>
      </p:ext>
    </p:extLst>
  </p:cSld>
  <p:clrMapOvr>
    <a:masterClrMapping/>
  </p:clrMapOvr>
  <p:transition spd="slow" advClick="0"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visiting</a:t>
            </a:r>
            <a:r>
              <a:rPr lang="de-DE" dirty="0"/>
              <a:t> </a:t>
            </a:r>
            <a:r>
              <a:rPr lang="de-DE" dirty="0" err="1"/>
              <a:t>Merg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4047584" cy="1269391"/>
          </a:xfrm>
        </p:spPr>
        <p:txBody>
          <a:bodyPr/>
          <a:lstStyle/>
          <a:p>
            <a:r>
              <a:rPr lang="en-US" dirty="0"/>
              <a:t>The result after merging </a:t>
            </a:r>
            <a:r>
              <a:rPr lang="en-US" sz="1600" dirty="0">
                <a:highlight>
                  <a:srgbClr val="CCEBD8"/>
                </a:highlight>
                <a:latin typeface="Consolas" panose="020B0609020204030204" pitchFamily="49" charset="0"/>
              </a:rPr>
              <a:t>feature</a:t>
            </a:r>
            <a:r>
              <a:rPr lang="en-US" dirty="0"/>
              <a:t> into 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main</a:t>
            </a:r>
            <a:r>
              <a:rPr lang="en-US" dirty="0"/>
              <a:t> looked like this:</a:t>
            </a:r>
          </a:p>
          <a:p>
            <a:r>
              <a:rPr lang="en-US" dirty="0"/>
              <a:t>C5 was called the merge commi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6430296B-4CCE-4A14-A0CE-4F31AAA69041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3747294" y="3136648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188013" y="3136648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1974624" y="3136647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cxnSpLocks/>
            <a:stCxn id="17" idx="1"/>
            <a:endCxn id="16" idx="3"/>
          </p:cNvCxnSpPr>
          <p:nvPr/>
        </p:nvCxnSpPr>
        <p:spPr>
          <a:xfrm flipH="1">
            <a:off x="1647294" y="3346458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3433904" y="3346458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7306573" y="4007357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cxnSpLocks/>
            <a:stCxn id="13" idx="0"/>
            <a:endCxn id="5" idx="2"/>
          </p:cNvCxnSpPr>
          <p:nvPr/>
        </p:nvCxnSpPr>
        <p:spPr>
          <a:xfrm flipV="1">
            <a:off x="8036213" y="3557071"/>
            <a:ext cx="0" cy="450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7306573" y="3137450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5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cxnSpLocks/>
            <a:stCxn id="5" idx="1"/>
            <a:endCxn id="14" idx="3"/>
          </p:cNvCxnSpPr>
          <p:nvPr/>
        </p:nvCxnSpPr>
        <p:spPr>
          <a:xfrm flipH="1" flipV="1">
            <a:off x="6993182" y="3346457"/>
            <a:ext cx="313391" cy="8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DD5BF-0C3B-6382-8D33-93C269B85B2B}"/>
              </a:ext>
            </a:extLst>
          </p:cNvPr>
          <p:cNvSpPr/>
          <p:nvPr/>
        </p:nvSpPr>
        <p:spPr>
          <a:xfrm>
            <a:off x="5533905" y="1483554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E19A79-7700-5E22-5EBC-EE508F63247F}"/>
              </a:ext>
            </a:extLst>
          </p:cNvPr>
          <p:cNvCxnSpPr>
            <a:cxnSpLocks/>
            <a:stCxn id="11" idx="2"/>
            <a:endCxn id="22" idx="0"/>
          </p:cNvCxnSpPr>
          <p:nvPr/>
        </p:nvCxnSpPr>
        <p:spPr>
          <a:xfrm flipH="1">
            <a:off x="6263544" y="1903175"/>
            <a:ext cx="1" cy="450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65DFDA9-B3E7-3177-853F-E383EBEA4789}"/>
              </a:ext>
            </a:extLst>
          </p:cNvPr>
          <p:cNvSpPr/>
          <p:nvPr/>
        </p:nvSpPr>
        <p:spPr>
          <a:xfrm>
            <a:off x="5533904" y="2353461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4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0899BC6-6E8C-BE3E-CFD1-D13C8CC66A62}"/>
              </a:ext>
            </a:extLst>
          </p:cNvPr>
          <p:cNvCxnSpPr>
            <a:cxnSpLocks/>
            <a:stCxn id="22" idx="1"/>
            <a:endCxn id="15" idx="3"/>
          </p:cNvCxnSpPr>
          <p:nvPr/>
        </p:nvCxnSpPr>
        <p:spPr>
          <a:xfrm flipH="1">
            <a:off x="5206573" y="2563272"/>
            <a:ext cx="327331" cy="7831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000FD9B8-E982-41A7-0B3B-58E637DDAC65}"/>
              </a:ext>
            </a:extLst>
          </p:cNvPr>
          <p:cNvSpPr/>
          <p:nvPr/>
        </p:nvSpPr>
        <p:spPr>
          <a:xfrm>
            <a:off x="5533903" y="3136646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34DF325-CCB9-627C-1B89-8F50FCC3D8ED}"/>
              </a:ext>
            </a:extLst>
          </p:cNvPr>
          <p:cNvCxnSpPr>
            <a:stCxn id="14" idx="1"/>
            <a:endCxn id="15" idx="3"/>
          </p:cNvCxnSpPr>
          <p:nvPr/>
        </p:nvCxnSpPr>
        <p:spPr>
          <a:xfrm flipH="1">
            <a:off x="5206573" y="3346457"/>
            <a:ext cx="327330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BE9528A-F2A7-89EB-D5B4-EA2500E6C86A}"/>
              </a:ext>
            </a:extLst>
          </p:cNvPr>
          <p:cNvCxnSpPr>
            <a:stCxn id="5" idx="1"/>
            <a:endCxn id="22" idx="3"/>
          </p:cNvCxnSpPr>
          <p:nvPr/>
        </p:nvCxnSpPr>
        <p:spPr>
          <a:xfrm flipH="1" flipV="1">
            <a:off x="6993183" y="2563272"/>
            <a:ext cx="313390" cy="783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186452"/>
      </p:ext>
    </p:extLst>
  </p:cSld>
  <p:clrMapOvr>
    <a:masterClrMapping/>
  </p:clrMapOvr>
  <p:transition spd="slow" advClick="0"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bas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8" y="1060450"/>
            <a:ext cx="5005821" cy="3661862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feature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rebase main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First, rewinding head to replay your work on top of it...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Applying: added staged comman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Rebasing stores all commit diffs on the current branch since the common ancestor (</a:t>
            </a: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C2</a:t>
            </a:r>
            <a:r>
              <a:rPr lang="en-US" dirty="0"/>
              <a:t>)</a:t>
            </a:r>
          </a:p>
          <a:p>
            <a:r>
              <a:rPr lang="en-US" dirty="0"/>
              <a:t>Then resets the current branch to the commit of the branch to rebase onto</a:t>
            </a:r>
          </a:p>
          <a:p>
            <a:r>
              <a:rPr lang="en-US" dirty="0"/>
              <a:t>Finally, it applies all stored commit diffs in tur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B799B8C-F587-412C-9425-1A5460E2E164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3810106" y="2285151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250825" y="2285151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2037436" y="2285150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cxnSpLocks/>
            <a:stCxn id="17" idx="1"/>
            <a:endCxn id="16" idx="3"/>
          </p:cNvCxnSpPr>
          <p:nvPr/>
        </p:nvCxnSpPr>
        <p:spPr>
          <a:xfrm flipH="1">
            <a:off x="1710106" y="2494961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3496716" y="2494961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5596716" y="3015953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cxnSpLocks/>
            <a:stCxn id="13" idx="0"/>
            <a:endCxn id="14" idx="2"/>
          </p:cNvCxnSpPr>
          <p:nvPr/>
        </p:nvCxnSpPr>
        <p:spPr>
          <a:xfrm flipH="1" flipV="1">
            <a:off x="6326355" y="2704770"/>
            <a:ext cx="1" cy="3111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7369385" y="2285953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4'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cxnSpLocks/>
            <a:stCxn id="5" idx="1"/>
            <a:endCxn id="14" idx="3"/>
          </p:cNvCxnSpPr>
          <p:nvPr/>
        </p:nvCxnSpPr>
        <p:spPr>
          <a:xfrm flipH="1" flipV="1">
            <a:off x="7055994" y="2494960"/>
            <a:ext cx="313391" cy="8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DD5BF-0C3B-6382-8D33-93C269B85B2B}"/>
              </a:ext>
            </a:extLst>
          </p:cNvPr>
          <p:cNvSpPr/>
          <p:nvPr/>
        </p:nvSpPr>
        <p:spPr>
          <a:xfrm>
            <a:off x="7369385" y="1510442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E19A79-7700-5E22-5EBC-EE508F63247F}"/>
              </a:ext>
            </a:extLst>
          </p:cNvPr>
          <p:cNvCxnSpPr>
            <a:cxnSpLocks/>
            <a:stCxn id="11" idx="2"/>
            <a:endCxn id="5" idx="0"/>
          </p:cNvCxnSpPr>
          <p:nvPr/>
        </p:nvCxnSpPr>
        <p:spPr>
          <a:xfrm>
            <a:off x="8099025" y="1930063"/>
            <a:ext cx="0" cy="3558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65DFDA9-B3E7-3177-853F-E383EBEA4789}"/>
              </a:ext>
            </a:extLst>
          </p:cNvPr>
          <p:cNvSpPr/>
          <p:nvPr/>
        </p:nvSpPr>
        <p:spPr>
          <a:xfrm>
            <a:off x="5596716" y="1501964"/>
            <a:ext cx="1459279" cy="41962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C4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0899BC6-6E8C-BE3E-CFD1-D13C8CC66A62}"/>
              </a:ext>
            </a:extLst>
          </p:cNvPr>
          <p:cNvCxnSpPr>
            <a:cxnSpLocks/>
            <a:stCxn id="22" idx="1"/>
            <a:endCxn id="15" idx="3"/>
          </p:cNvCxnSpPr>
          <p:nvPr/>
        </p:nvCxnSpPr>
        <p:spPr>
          <a:xfrm flipH="1">
            <a:off x="5269385" y="1711775"/>
            <a:ext cx="327331" cy="783187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000FD9B8-E982-41A7-0B3B-58E637DDAC65}"/>
              </a:ext>
            </a:extLst>
          </p:cNvPr>
          <p:cNvSpPr/>
          <p:nvPr/>
        </p:nvSpPr>
        <p:spPr>
          <a:xfrm>
            <a:off x="5596715" y="2285149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34DF325-CCB9-627C-1B89-8F50FCC3D8ED}"/>
              </a:ext>
            </a:extLst>
          </p:cNvPr>
          <p:cNvCxnSpPr>
            <a:stCxn id="14" idx="1"/>
            <a:endCxn id="15" idx="3"/>
          </p:cNvCxnSpPr>
          <p:nvPr/>
        </p:nvCxnSpPr>
        <p:spPr>
          <a:xfrm flipH="1">
            <a:off x="5269385" y="2494960"/>
            <a:ext cx="327330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606656"/>
      </p:ext>
    </p:extLst>
  </p:cSld>
  <p:clrMapOvr>
    <a:masterClrMapping/>
  </p:clrMapOvr>
  <p:transition spd="slow" advClick="0"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203B9-4E1C-177A-9DE3-2DE87A6E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basing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D04AC-7A6F-91F4-A519-C06D9AF4E8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4CBCD1-A67F-7EA0-BD1E-6727DB0FB4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87A794E7-677A-2423-575A-4E6B06D6A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8" y="1060450"/>
            <a:ext cx="5005821" cy="3661862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checkout main</a:t>
            </a:r>
          </a:p>
          <a:p>
            <a:pPr marL="0" indent="0">
              <a:buNone/>
            </a:pPr>
            <a:r>
              <a:rPr lang="en-US" sz="1400" dirty="0">
                <a:highlight>
                  <a:srgbClr val="CCEBD8"/>
                </a:highlight>
                <a:latin typeface="Consolas" panose="020B0609020204030204" pitchFamily="49" charset="0"/>
              </a:rPr>
              <a:t>$ git merge featur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de-DE" sz="1400" dirty="0">
              <a:highlight>
                <a:srgbClr val="CCEBD8"/>
              </a:highlight>
              <a:latin typeface="Consolas" panose="020B0609020204030204" pitchFamily="49" charset="0"/>
            </a:endParaRPr>
          </a:p>
          <a:p>
            <a:r>
              <a:rPr lang="de-DE" sz="1400" dirty="0">
                <a:highlight>
                  <a:srgbClr val="CCEBD8"/>
                </a:highlight>
                <a:latin typeface="Consolas" panose="020B0609020204030204" pitchFamily="49" charset="0"/>
              </a:rPr>
              <a:t>C4‘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exact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sz="1400" dirty="0">
                <a:highlight>
                  <a:srgbClr val="CCEBD8"/>
                </a:highlight>
                <a:latin typeface="Consolas" panose="020B0609020204030204" pitchFamily="49" charset="0"/>
              </a:rPr>
              <a:t>C5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rge</a:t>
            </a:r>
            <a:r>
              <a:rPr lang="de-DE" dirty="0"/>
              <a:t> </a:t>
            </a:r>
            <a:r>
              <a:rPr lang="de-DE" dirty="0" err="1"/>
              <a:t>example</a:t>
            </a:r>
            <a:endParaRPr lang="de-DE" dirty="0"/>
          </a:p>
          <a:p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 </a:t>
            </a:r>
            <a:r>
              <a:rPr lang="de-DE" dirty="0" err="1"/>
              <a:t>differ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end </a:t>
            </a:r>
            <a:r>
              <a:rPr lang="de-DE" dirty="0" err="1"/>
              <a:t>product</a:t>
            </a:r>
            <a:endParaRPr lang="de-DE" dirty="0"/>
          </a:p>
          <a:p>
            <a:r>
              <a:rPr lang="de-DE" dirty="0"/>
              <a:t>But </a:t>
            </a:r>
            <a:r>
              <a:rPr lang="de-DE" dirty="0" err="1"/>
              <a:t>rebasing</a:t>
            </a:r>
            <a:r>
              <a:rPr lang="de-DE" dirty="0"/>
              <a:t> </a:t>
            </a:r>
            <a:r>
              <a:rPr lang="de-DE" dirty="0" err="1"/>
              <a:t>mak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 cleaner (linear) </a:t>
            </a:r>
            <a:r>
              <a:rPr lang="de-DE" dirty="0" err="1"/>
              <a:t>history</a:t>
            </a: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2B157-A8BC-85FC-F4BB-1F5E593852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1DA761-7B89-1288-982D-6623CCA415B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2519B6E-382A-4C54-BB77-DF93C1837BEA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E26226-3143-F4C2-E2B9-8D56D07466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E3A7A-43A9-93E9-FED4-425B531578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2B00D5-83CA-BFE6-9918-A9B90E218079}"/>
              </a:ext>
            </a:extLst>
          </p:cNvPr>
          <p:cNvSpPr/>
          <p:nvPr/>
        </p:nvSpPr>
        <p:spPr>
          <a:xfrm>
            <a:off x="3810106" y="2151327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468C8C-33B2-8CC3-3033-C7FEAFFF1DE4}"/>
              </a:ext>
            </a:extLst>
          </p:cNvPr>
          <p:cNvSpPr/>
          <p:nvPr/>
        </p:nvSpPr>
        <p:spPr>
          <a:xfrm>
            <a:off x="250825" y="2151327"/>
            <a:ext cx="1459281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14719-F80D-3FC6-BADF-D871407FB5FC}"/>
              </a:ext>
            </a:extLst>
          </p:cNvPr>
          <p:cNvSpPr/>
          <p:nvPr/>
        </p:nvSpPr>
        <p:spPr>
          <a:xfrm>
            <a:off x="2037436" y="2151326"/>
            <a:ext cx="1459280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8C69978-1A20-D1C4-05C4-907B4E681BFF}"/>
              </a:ext>
            </a:extLst>
          </p:cNvPr>
          <p:cNvCxnSpPr>
            <a:cxnSpLocks/>
            <a:stCxn id="17" idx="1"/>
            <a:endCxn id="16" idx="3"/>
          </p:cNvCxnSpPr>
          <p:nvPr/>
        </p:nvCxnSpPr>
        <p:spPr>
          <a:xfrm flipH="1">
            <a:off x="1710106" y="2361137"/>
            <a:ext cx="32733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92470-EB44-CD14-15E9-B36EDEA5F53D}"/>
              </a:ext>
            </a:extLst>
          </p:cNvPr>
          <p:cNvCxnSpPr>
            <a:stCxn id="15" idx="1"/>
            <a:endCxn id="17" idx="3"/>
          </p:cNvCxnSpPr>
          <p:nvPr/>
        </p:nvCxnSpPr>
        <p:spPr>
          <a:xfrm flipH="1" flipV="1">
            <a:off x="3496716" y="2361137"/>
            <a:ext cx="31339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D1EC8B-88F9-0991-2EDF-E93899E165EB}"/>
              </a:ext>
            </a:extLst>
          </p:cNvPr>
          <p:cNvSpPr/>
          <p:nvPr/>
        </p:nvSpPr>
        <p:spPr>
          <a:xfrm>
            <a:off x="7369385" y="2926836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latin typeface="Consolas" panose="020B0609020204030204" pitchFamily="49" charset="0"/>
              </a:rPr>
              <a:t>main</a:t>
            </a:r>
            <a:endParaRPr lang="de-DE" dirty="0">
              <a:latin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9487495-25E9-03AF-A1AB-C30EAE5D5570}"/>
              </a:ext>
            </a:extLst>
          </p:cNvPr>
          <p:cNvCxnSpPr>
            <a:cxnSpLocks/>
            <a:stCxn id="13" idx="0"/>
            <a:endCxn id="5" idx="2"/>
          </p:cNvCxnSpPr>
          <p:nvPr/>
        </p:nvCxnSpPr>
        <p:spPr>
          <a:xfrm flipV="1">
            <a:off x="8099025" y="2571750"/>
            <a:ext cx="0" cy="3550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2D90594-DEB7-6788-9B08-A64FA9092E71}"/>
              </a:ext>
            </a:extLst>
          </p:cNvPr>
          <p:cNvSpPr/>
          <p:nvPr/>
        </p:nvSpPr>
        <p:spPr>
          <a:xfrm>
            <a:off x="7369385" y="2152129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4'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75D166-46C6-C935-5F35-F244DF3B7494}"/>
              </a:ext>
            </a:extLst>
          </p:cNvPr>
          <p:cNvCxnSpPr>
            <a:cxnSpLocks/>
            <a:stCxn id="5" idx="1"/>
            <a:endCxn id="14" idx="3"/>
          </p:cNvCxnSpPr>
          <p:nvPr/>
        </p:nvCxnSpPr>
        <p:spPr>
          <a:xfrm flipH="1" flipV="1">
            <a:off x="7055994" y="2361136"/>
            <a:ext cx="313391" cy="8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F7DD5BF-0C3B-6382-8D33-93C269B85B2B}"/>
              </a:ext>
            </a:extLst>
          </p:cNvPr>
          <p:cNvSpPr/>
          <p:nvPr/>
        </p:nvSpPr>
        <p:spPr>
          <a:xfrm>
            <a:off x="7369385" y="1376618"/>
            <a:ext cx="1459279" cy="4196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featur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E19A79-7700-5E22-5EBC-EE508F63247F}"/>
              </a:ext>
            </a:extLst>
          </p:cNvPr>
          <p:cNvCxnSpPr>
            <a:cxnSpLocks/>
            <a:stCxn id="11" idx="2"/>
            <a:endCxn id="5" idx="0"/>
          </p:cNvCxnSpPr>
          <p:nvPr/>
        </p:nvCxnSpPr>
        <p:spPr>
          <a:xfrm>
            <a:off x="8099025" y="1796239"/>
            <a:ext cx="0" cy="3558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000FD9B8-E982-41A7-0B3B-58E637DDAC65}"/>
              </a:ext>
            </a:extLst>
          </p:cNvPr>
          <p:cNvSpPr/>
          <p:nvPr/>
        </p:nvSpPr>
        <p:spPr>
          <a:xfrm>
            <a:off x="5596715" y="2151325"/>
            <a:ext cx="1459279" cy="4196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Consolas" panose="020B0609020204030204" pitchFamily="49" charset="0"/>
              </a:rPr>
              <a:t>C3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34DF325-CCB9-627C-1B89-8F50FCC3D8ED}"/>
              </a:ext>
            </a:extLst>
          </p:cNvPr>
          <p:cNvCxnSpPr>
            <a:stCxn id="14" idx="1"/>
            <a:endCxn id="15" idx="3"/>
          </p:cNvCxnSpPr>
          <p:nvPr/>
        </p:nvCxnSpPr>
        <p:spPr>
          <a:xfrm flipH="1">
            <a:off x="5269385" y="2361136"/>
            <a:ext cx="327330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7290696"/>
      </p:ext>
    </p:extLst>
  </p:cSld>
  <p:clrMapOvr>
    <a:masterClrMapping/>
  </p:clrMapOvr>
  <p:transition spd="slow" advClick="0"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AD3D6C00-6D6B-DBD7-3FA3-A4C5EBFA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b #3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9CC4F145-4BBD-311A-665F-07CFD22642C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Follow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eps</a:t>
            </a:r>
            <a:r>
              <a:rPr lang="de-DE" dirty="0"/>
              <a:t> on </a:t>
            </a:r>
            <a:r>
              <a:rPr lang="de-DE" dirty="0">
                <a:hlinkClick r:id="rId2"/>
              </a:rPr>
              <a:t>https://gitimmersion.com/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Finish:</a:t>
            </a:r>
          </a:p>
          <a:p>
            <a:r>
              <a:rPr lang="de-DE" dirty="0"/>
              <a:t>Lab 24-35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0930DF2-410C-F8A5-C371-8762B1F7DA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Branching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136B862-B171-9F00-E5F3-D6407E80F5A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280A58D-F4FF-47BC-9461-85F70F042128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FDD664-5A87-8964-E7AF-C8918D078C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964E07-2F20-FA8C-1995-5AA8C86ED6F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3610135"/>
      </p:ext>
    </p:extLst>
  </p:cSld>
  <p:clrMapOvr>
    <a:masterClrMapping/>
  </p:clrMapOvr>
  <p:transition spd="slow" advClick="0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EE817F-506E-1BF6-FAD7-446D83966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 Practic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1AC2EB-CE47-6B7A-8FC6-A8C0CBE92E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74D055-3D37-411D-8333-0228F08CE83A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693A8C-6AF0-3D86-CB8D-BAAACCDDF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B663AE-86D3-E82E-424F-8417B7948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3963843"/>
      </p:ext>
    </p:extLst>
  </p:cSld>
  <p:clrMapOvr>
    <a:masterClrMapping/>
  </p:clrMapOvr>
  <p:transition spd="slow" advClick="0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47C5E-B988-63A8-CCB2-9F5BE9E13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mit Best Practic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384ADCD-F353-8328-161D-635FCE0B50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A3F0BE-F8BE-A8F5-3967-59E5D50720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69CA51-9141-163D-B6E4-21CCC44F02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Meaningful Commit Messages</a:t>
            </a:r>
          </a:p>
          <a:p>
            <a:r>
              <a:rPr lang="en-US" dirty="0"/>
              <a:t>Always describe what the change does and why it’s needed.</a:t>
            </a:r>
          </a:p>
          <a:p>
            <a:r>
              <a:rPr lang="en-US" dirty="0"/>
              <a:t>Examples:</a:t>
            </a:r>
          </a:p>
          <a:p>
            <a:pPr marL="0" indent="0">
              <a:buNone/>
            </a:pPr>
            <a:r>
              <a:rPr lang="en-US" dirty="0"/>
              <a:t>	✅ Fix user authentication bug</a:t>
            </a:r>
          </a:p>
          <a:p>
            <a:pPr marL="0" indent="0">
              <a:buNone/>
            </a:pPr>
            <a:r>
              <a:rPr lang="en-US" dirty="0"/>
              <a:t>	🚫 Fix bug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Commit Often</a:t>
            </a:r>
          </a:p>
          <a:p>
            <a:r>
              <a:rPr lang="en-US" dirty="0"/>
              <a:t>Commit frequently to create smaller, manageable changes.</a:t>
            </a:r>
          </a:p>
          <a:p>
            <a:r>
              <a:rPr lang="en-US" dirty="0"/>
              <a:t>Each commit should represent a single, logical unit of work (avoid bundling of unrelated changes).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609CACB-5BBF-2C20-ED91-7AEF3EF84D96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Avoid 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commit -a</a:t>
            </a:r>
          </a:p>
          <a:p>
            <a:r>
              <a:rPr lang="en-US" dirty="0"/>
              <a:t>Don’t auto-stage all changes using 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–a</a:t>
            </a:r>
            <a:r>
              <a:rPr lang="en-US" dirty="0"/>
              <a:t> in a commit.</a:t>
            </a:r>
          </a:p>
          <a:p>
            <a:r>
              <a:rPr lang="en-US" dirty="0"/>
              <a:t>Be selective and intentional about what you stag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Write Message in Present Tense</a:t>
            </a:r>
          </a:p>
          <a:p>
            <a:r>
              <a:rPr lang="en-US" dirty="0"/>
              <a:t>Use the present tense to describe what the commit does, not what was done.</a:t>
            </a:r>
          </a:p>
          <a:p>
            <a:r>
              <a:rPr lang="en-US" dirty="0"/>
              <a:t>Example:</a:t>
            </a:r>
          </a:p>
          <a:p>
            <a:pPr marL="0" indent="0">
              <a:buNone/>
            </a:pPr>
            <a:r>
              <a:rPr lang="en-US" dirty="0"/>
              <a:t>	✅ Add validation for email input</a:t>
            </a:r>
          </a:p>
          <a:p>
            <a:pPr marL="0" indent="0">
              <a:buNone/>
            </a:pPr>
            <a:r>
              <a:rPr lang="en-US" dirty="0"/>
              <a:t>	🚫 Added validation for email input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CF7415C-87D9-EB2C-19B6-A8C7C779AE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st Practic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42DFEB0-F962-CD13-15EB-31874BC3319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4DC2701-FB41-42A1-BE30-3CBD429460A1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1B82AF-3617-4ACD-B142-EB34022DFC2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B72BB36-DDC6-091D-D5C4-6CFF1708A8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41559"/>
      </p:ext>
    </p:extLst>
  </p:cSld>
  <p:clrMapOvr>
    <a:masterClrMapping/>
  </p:clrMapOvr>
  <p:transition spd="slow" advClick="0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47C5E-B988-63A8-CCB2-9F5BE9E13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Etiquette</a:t>
            </a:r>
            <a:endParaRPr lang="de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384ADCD-F353-8328-161D-635FCE0B50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A3F0BE-F8BE-A8F5-3967-59E5D50720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69CA51-9141-163D-B6E4-21CCC44F02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No Rebase After Push</a:t>
            </a:r>
            <a:endParaRPr lang="en-US" dirty="0"/>
          </a:p>
          <a:p>
            <a:r>
              <a:rPr lang="en-US" dirty="0"/>
              <a:t>Avoid rebasing commits that have already been pushed to a shared branch.</a:t>
            </a:r>
          </a:p>
          <a:p>
            <a:r>
              <a:rPr lang="en-US" dirty="0"/>
              <a:t>This could lead to conflicts and confusion for your team.</a:t>
            </a:r>
          </a:p>
          <a:p>
            <a:r>
              <a:rPr lang="en-US" dirty="0"/>
              <a:t>Or at least use 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git push --force-with-leas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Test Before Commi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lways run tests or ensure the code is stable before committing changes.</a:t>
            </a:r>
          </a:p>
          <a:p>
            <a:pPr marL="0" indent="0">
              <a:buNone/>
            </a:pPr>
            <a:endParaRPr lang="en-US" dirty="0">
              <a:highlight>
                <a:srgbClr val="CCEBD8"/>
              </a:highlight>
              <a:latin typeface="Consolas" panose="020B0609020204030204" pitchFamily="49" charset="0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609CACB-5BBF-2C20-ED91-7AEF3EF84D96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Follow Branch Naming Conventions</a:t>
            </a:r>
          </a:p>
          <a:p>
            <a:r>
              <a:rPr lang="en-US" dirty="0"/>
              <a:t>Use meaningful branch names that reflect the task or feature.</a:t>
            </a:r>
          </a:p>
          <a:p>
            <a:r>
              <a:rPr lang="en-US" dirty="0"/>
              <a:t>Example formats: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feature/add-login-page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bugfix/fix-auth-flow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Identify a branching strategy</a:t>
            </a:r>
          </a:p>
          <a:p>
            <a:r>
              <a:rPr lang="en-US" b="1" dirty="0"/>
              <a:t>Git Flow</a:t>
            </a:r>
            <a:r>
              <a:rPr lang="en-US" dirty="0"/>
              <a:t>: Best for projects with planned releases and multiple feature branches.</a:t>
            </a:r>
          </a:p>
          <a:p>
            <a:r>
              <a:rPr lang="en-US" b="1" dirty="0"/>
              <a:t>GitHub Flow</a:t>
            </a:r>
            <a:r>
              <a:rPr lang="en-US" dirty="0"/>
              <a:t>: Ideal for continuous delivery with lightweight branching.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CF7415C-87D9-EB2C-19B6-A8C7C779AE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st Practic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42DFEB0-F962-CD13-15EB-31874BC3319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70B22C-D1C4-4FC0-BE1D-10CD4B662CF8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1B82AF-3617-4ACD-B142-EB34022DFC2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B72BB36-DDC6-091D-D5C4-6CFF1708A8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169474"/>
      </p:ext>
    </p:extLst>
  </p:cSld>
  <p:clrMapOvr>
    <a:masterClrMapping/>
  </p:clrMapOvr>
  <p:transition spd="slow" advClick="0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47C5E-B988-63A8-CCB2-9F5BE9E13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e</a:t>
            </a:r>
            <a:r>
              <a:rPr lang="de-DE" dirty="0"/>
              <a:t>-Commi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384ADCD-F353-8328-161D-635FCE0B50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BA3F0BE-F8BE-A8F5-3967-59E5D50720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69CA51-9141-163D-B6E4-21CCC44F02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ool that helps </a:t>
            </a:r>
            <a:r>
              <a:rPr lang="en-US" b="1" dirty="0"/>
              <a:t>automate and enforce coding standards </a:t>
            </a:r>
            <a:r>
              <a:rPr lang="en-US" dirty="0"/>
              <a:t>by running checks before each commit.</a:t>
            </a:r>
          </a:p>
          <a:p>
            <a:r>
              <a:rPr lang="en-US" dirty="0"/>
              <a:t>Automatically runs linters, formatters, or custom scripts.</a:t>
            </a:r>
          </a:p>
          <a:p>
            <a:r>
              <a:rPr lang="en-US" dirty="0"/>
              <a:t>Ensures code quality and consistency before it's committed.</a:t>
            </a:r>
          </a:p>
          <a:p>
            <a:r>
              <a:rPr lang="en-US" dirty="0"/>
              <a:t>Reduces errors by catching issues early in the development process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Install using 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pip</a:t>
            </a:r>
            <a:r>
              <a:rPr lang="en-US" dirty="0"/>
              <a:t>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pip install pre-commit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609CACB-5BBF-2C20-ED91-7AEF3EF84D96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/>
              <a:t>Create a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named</a:t>
            </a:r>
            <a:r>
              <a:rPr lang="de-DE" dirty="0"/>
              <a:t> </a:t>
            </a:r>
            <a:r>
              <a:rPr lang="de-DE" dirty="0">
                <a:highlight>
                  <a:srgbClr val="CCEBD8"/>
                </a:highlight>
                <a:latin typeface="Consolas" panose="020B0609020204030204" pitchFamily="49" charset="0"/>
              </a:rPr>
              <a:t>.</a:t>
            </a:r>
            <a:r>
              <a:rPr lang="de-DE" dirty="0" err="1">
                <a:highlight>
                  <a:srgbClr val="CCEBD8"/>
                </a:highlight>
                <a:latin typeface="Consolas" panose="020B0609020204030204" pitchFamily="49" charset="0"/>
              </a:rPr>
              <a:t>pre-commit-config.yaml</a:t>
            </a:r>
            <a:r>
              <a:rPr lang="de-DE" dirty="0"/>
              <a:t>, e.g.:</a:t>
            </a:r>
          </a:p>
          <a:p>
            <a:pPr marL="0" indent="0">
              <a:buNone/>
            </a:pPr>
            <a:r>
              <a:rPr lang="en-US" sz="1000" dirty="0">
                <a:latin typeface="Consolas" panose="020B0609020204030204" pitchFamily="49" charset="0"/>
              </a:rPr>
              <a:t>repos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-   repo: https://github.com/pre-commit/pre-commit-hooks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rev: v2.3.0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hooks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-   id: check-</a:t>
            </a:r>
            <a:r>
              <a:rPr lang="en-US" sz="1000" dirty="0" err="1">
                <a:latin typeface="Consolas" panose="020B0609020204030204" pitchFamily="49" charset="0"/>
              </a:rPr>
              <a:t>yaml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-   id: end-of-file-fixer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-   id: trailing-whitespace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-   repo: https://github.com/psf/black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rev: 22.10.0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hooks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 -   id: black</a:t>
            </a:r>
          </a:p>
          <a:p>
            <a:r>
              <a:rPr lang="de-DE" dirty="0" err="1"/>
              <a:t>Install</a:t>
            </a:r>
            <a:r>
              <a:rPr lang="de-DE" dirty="0"/>
              <a:t> </a:t>
            </a:r>
            <a:r>
              <a:rPr lang="de-DE" dirty="0" err="1"/>
              <a:t>git</a:t>
            </a:r>
            <a:r>
              <a:rPr lang="de-DE" dirty="0"/>
              <a:t> hook </a:t>
            </a:r>
            <a:r>
              <a:rPr lang="de-DE" dirty="0" err="1"/>
              <a:t>scripts</a:t>
            </a:r>
            <a:r>
              <a:rPr lang="de-DE" dirty="0"/>
              <a:t>:</a:t>
            </a:r>
          </a:p>
          <a:p>
            <a:pPr marL="0" indent="0">
              <a:buNone/>
            </a:pP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pre-commit install</a:t>
            </a:r>
          </a:p>
          <a:p>
            <a:pPr marL="0" indent="0">
              <a:buNone/>
            </a:pPr>
            <a:r>
              <a:rPr lang="en-US" dirty="0"/>
              <a:t>Now, all checks run when you commit and abort the commit on any failure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CF7415C-87D9-EB2C-19B6-A8C7C779AE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st Practic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42DFEB0-F962-CD13-15EB-31874BC3319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75D304A-1C40-45A9-91FB-363FDF6382A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1B82AF-3617-4ACD-B142-EB34022DFC2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B72BB36-DDC6-091D-D5C4-6CFF1708A8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890512"/>
      </p:ext>
    </p:extLst>
  </p:cSld>
  <p:clrMapOvr>
    <a:masterClrMapping/>
  </p:clrMapOvr>
  <p:transition spd="slow" advClick="0"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9E2840-4F91-6E81-315D-A07F52055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err="1"/>
              <a:t>Branching</a:t>
            </a:r>
            <a:r>
              <a:rPr lang="de-DE" sz="2000" dirty="0"/>
              <a:t> </a:t>
            </a:r>
            <a:r>
              <a:rPr lang="de-DE" sz="2000" dirty="0" err="1"/>
              <a:t>Strategies</a:t>
            </a:r>
            <a:r>
              <a:rPr lang="de-DE" sz="2000" dirty="0"/>
              <a:t>: GitHub Flo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492D01-6FB8-E76C-74E8-5E075A375D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1595EB-DC85-1D85-A250-11B95961E7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A26BCA-B2C0-F968-B976-48C07B8816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060450"/>
            <a:ext cx="4755304" cy="3539788"/>
          </a:xfrm>
        </p:spPr>
        <p:txBody>
          <a:bodyPr/>
          <a:lstStyle/>
          <a:p>
            <a:r>
              <a:rPr lang="en-US" dirty="0"/>
              <a:t>GitHub Flow is a </a:t>
            </a:r>
            <a:r>
              <a:rPr lang="en-US" b="1" dirty="0"/>
              <a:t>lightweight</a:t>
            </a:r>
            <a:r>
              <a:rPr lang="en-US" dirty="0"/>
              <a:t> branching strategy </a:t>
            </a:r>
            <a:r>
              <a:rPr lang="en-US" b="1" dirty="0"/>
              <a:t>focused on continuous delivery</a:t>
            </a:r>
            <a:r>
              <a:rPr lang="en-US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Main concepts:</a:t>
            </a:r>
          </a:p>
          <a:p>
            <a:pPr lvl="1"/>
            <a:r>
              <a:rPr lang="en-US" dirty="0"/>
              <a:t>Single </a:t>
            </a:r>
            <a:r>
              <a:rPr lang="en-US" b="1" dirty="0"/>
              <a:t>main</a:t>
            </a:r>
            <a:r>
              <a:rPr lang="en-US" dirty="0"/>
              <a:t> branch.</a:t>
            </a:r>
          </a:p>
          <a:p>
            <a:pPr lvl="1"/>
            <a:r>
              <a:rPr lang="en-US" b="1" dirty="0"/>
              <a:t>Feature</a:t>
            </a:r>
            <a:r>
              <a:rPr lang="en-US" dirty="0"/>
              <a:t> branches are created for each change.</a:t>
            </a:r>
          </a:p>
          <a:p>
            <a:pPr lvl="1"/>
            <a:r>
              <a:rPr lang="en-US" b="1" dirty="0"/>
              <a:t>Pull requests </a:t>
            </a:r>
            <a:r>
              <a:rPr lang="en-US" dirty="0"/>
              <a:t>are used to merge feature branches into the main branch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Best for:</a:t>
            </a:r>
          </a:p>
          <a:p>
            <a:pPr lvl="1"/>
            <a:r>
              <a:rPr lang="en-US" dirty="0"/>
              <a:t>Teams practicing </a:t>
            </a:r>
            <a:r>
              <a:rPr lang="en-US" b="1" dirty="0"/>
              <a:t>continuous deployment </a:t>
            </a:r>
            <a:r>
              <a:rPr lang="en-US" dirty="0"/>
              <a:t>and frequent releases.</a:t>
            </a:r>
          </a:p>
          <a:p>
            <a:pPr lvl="1"/>
            <a:r>
              <a:rPr lang="en-US" dirty="0"/>
              <a:t>Projects with </a:t>
            </a:r>
            <a:r>
              <a:rPr lang="en-US" b="1" dirty="0"/>
              <a:t>simple workflows </a:t>
            </a:r>
            <a:r>
              <a:rPr lang="en-US" dirty="0"/>
              <a:t>and short-lived feature branches.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7F65ED-73C6-5077-0972-A2F6580641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st Practic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8B2809D-3668-E85A-9060-BFAF97ED9AA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9FAA41A-DFFD-43C7-B998-384EF58F4A4E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1C0615-4665-9171-A9D5-FEFF5F0925B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2125C1-D09E-ADED-7992-C935D32E9DC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49</a:t>
            </a:fld>
            <a:endParaRPr lang="de-D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C74E260-47E9-F592-1788-65291AFE51D3}"/>
              </a:ext>
            </a:extLst>
          </p:cNvPr>
          <p:cNvCxnSpPr>
            <a:cxnSpLocks/>
          </p:cNvCxnSpPr>
          <p:nvPr/>
        </p:nvCxnSpPr>
        <p:spPr>
          <a:xfrm>
            <a:off x="5920034" y="557408"/>
            <a:ext cx="43841" cy="3820438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ACE7D0D-35EC-1A95-C5D2-552E6DD133D5}"/>
              </a:ext>
            </a:extLst>
          </p:cNvPr>
          <p:cNvSpPr txBox="1"/>
          <p:nvPr/>
        </p:nvSpPr>
        <p:spPr>
          <a:xfrm>
            <a:off x="5126276" y="488886"/>
            <a:ext cx="7390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main</a:t>
            </a:r>
            <a:br>
              <a:rPr lang="de-DE" sz="1400" dirty="0"/>
            </a:br>
            <a:r>
              <a:rPr lang="de-DE" sz="1400" dirty="0" err="1"/>
              <a:t>branch</a:t>
            </a: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64E43D2-A9D5-B822-BE8A-B86A7C6F0349}"/>
              </a:ext>
            </a:extLst>
          </p:cNvPr>
          <p:cNvSpPr/>
          <p:nvPr/>
        </p:nvSpPr>
        <p:spPr>
          <a:xfrm>
            <a:off x="5836585" y="1052210"/>
            <a:ext cx="180000" cy="180000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BE1536C3-9E6E-4A81-3324-F4EFD801CD34}"/>
              </a:ext>
            </a:extLst>
          </p:cNvPr>
          <p:cNvCxnSpPr>
            <a:cxnSpLocks/>
            <a:stCxn id="18" idx="6"/>
            <a:endCxn id="22" idx="0"/>
          </p:cNvCxnSpPr>
          <p:nvPr/>
        </p:nvCxnSpPr>
        <p:spPr>
          <a:xfrm>
            <a:off x="6016585" y="1142210"/>
            <a:ext cx="707220" cy="314316"/>
          </a:xfrm>
          <a:prstGeom prst="bentConnector2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98B3E4B8-0393-5C9B-1B30-8BE4E5C85F97}"/>
              </a:ext>
            </a:extLst>
          </p:cNvPr>
          <p:cNvSpPr/>
          <p:nvPr/>
        </p:nvSpPr>
        <p:spPr>
          <a:xfrm>
            <a:off x="6633805" y="1456526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489A82-CEFB-C420-AFD5-B57FEFC1B674}"/>
              </a:ext>
            </a:extLst>
          </p:cNvPr>
          <p:cNvSpPr txBox="1"/>
          <p:nvPr/>
        </p:nvSpPr>
        <p:spPr>
          <a:xfrm>
            <a:off x="6209029" y="789433"/>
            <a:ext cx="13118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create</a:t>
            </a:r>
            <a:r>
              <a:rPr lang="de-DE" sz="1400" dirty="0"/>
              <a:t> </a:t>
            </a:r>
            <a:r>
              <a:rPr lang="de-DE" sz="1400" dirty="0" err="1"/>
              <a:t>branch</a:t>
            </a:r>
            <a:endParaRPr lang="de-DE" sz="1400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FA70BB9-818A-6872-86EC-5EC213F362F9}"/>
              </a:ext>
            </a:extLst>
          </p:cNvPr>
          <p:cNvSpPr/>
          <p:nvPr/>
        </p:nvSpPr>
        <p:spPr>
          <a:xfrm>
            <a:off x="6634230" y="1920362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E86CAB63-299F-FC96-9011-D5E03E78BBD9}"/>
              </a:ext>
            </a:extLst>
          </p:cNvPr>
          <p:cNvCxnSpPr>
            <a:cxnSpLocks/>
            <a:stCxn id="22" idx="4"/>
            <a:endCxn id="25" idx="0"/>
          </p:cNvCxnSpPr>
          <p:nvPr/>
        </p:nvCxnSpPr>
        <p:spPr>
          <a:xfrm rot="16200000" flipH="1">
            <a:off x="6582099" y="1778231"/>
            <a:ext cx="283836" cy="425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28C08C3-386C-0110-2FFA-3CD8DA2C9239}"/>
              </a:ext>
            </a:extLst>
          </p:cNvPr>
          <p:cNvSpPr txBox="1"/>
          <p:nvPr/>
        </p:nvSpPr>
        <p:spPr>
          <a:xfrm>
            <a:off x="6804605" y="1658752"/>
            <a:ext cx="8968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commit</a:t>
            </a:r>
            <a:endParaRPr lang="de-DE" sz="1400" dirty="0"/>
          </a:p>
          <a:p>
            <a:pPr algn="ctr"/>
            <a:r>
              <a:rPr lang="de-DE" sz="1400" dirty="0" err="1"/>
              <a:t>changes</a:t>
            </a:r>
            <a:endParaRPr lang="de-DE" sz="1400" dirty="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D3CEDADE-127E-BF9F-721F-17D2A0F99A77}"/>
              </a:ext>
            </a:extLst>
          </p:cNvPr>
          <p:cNvSpPr/>
          <p:nvPr/>
        </p:nvSpPr>
        <p:spPr>
          <a:xfrm>
            <a:off x="6634231" y="2387918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7ECB95DB-3E30-6275-F140-F313F8E6E657}"/>
              </a:ext>
            </a:extLst>
          </p:cNvPr>
          <p:cNvCxnSpPr>
            <a:cxnSpLocks/>
            <a:stCxn id="25" idx="4"/>
            <a:endCxn id="40" idx="0"/>
          </p:cNvCxnSpPr>
          <p:nvPr/>
        </p:nvCxnSpPr>
        <p:spPr>
          <a:xfrm rot="16200000" flipH="1">
            <a:off x="6580452" y="2244139"/>
            <a:ext cx="287556" cy="1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7CCF72E-E50B-BC51-BF88-96769E7DB99A}"/>
              </a:ext>
            </a:extLst>
          </p:cNvPr>
          <p:cNvGrpSpPr/>
          <p:nvPr/>
        </p:nvGrpSpPr>
        <p:grpSpPr>
          <a:xfrm>
            <a:off x="6547741" y="2843114"/>
            <a:ext cx="351780" cy="351780"/>
            <a:chOff x="6906396" y="2974759"/>
            <a:chExt cx="351780" cy="3517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CC4C2B5-555F-1DDC-DF82-3B8014D8394F}"/>
                </a:ext>
              </a:extLst>
            </p:cNvPr>
            <p:cNvSpPr/>
            <p:nvPr/>
          </p:nvSpPr>
          <p:spPr>
            <a:xfrm>
              <a:off x="6906396" y="2974759"/>
              <a:ext cx="351780" cy="35178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9" name="Graphic 48" descr="Zipper with solid fill">
              <a:extLst>
                <a:ext uri="{FF2B5EF4-FFF2-40B4-BE49-F238E27FC236}">
                  <a16:creationId xmlns:a16="http://schemas.microsoft.com/office/drawing/2014/main" id="{18482360-19E6-7662-80F7-C2F9D36857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947031" y="3015394"/>
              <a:ext cx="270510" cy="270510"/>
            </a:xfrm>
            <a:prstGeom prst="rect">
              <a:avLst/>
            </a:prstGeom>
          </p:spPr>
        </p:pic>
      </p:grp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9F4EF06F-E4A8-2A45-5F15-EAEFD2EE6A5C}"/>
              </a:ext>
            </a:extLst>
          </p:cNvPr>
          <p:cNvCxnSpPr>
            <a:cxnSpLocks/>
            <a:stCxn id="40" idx="4"/>
            <a:endCxn id="50" idx="0"/>
          </p:cNvCxnSpPr>
          <p:nvPr/>
        </p:nvCxnSpPr>
        <p:spPr>
          <a:xfrm rot="5400000">
            <a:off x="6586333" y="2705216"/>
            <a:ext cx="275196" cy="600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5265EF7-F4C8-852F-0860-E9220B116FDC}"/>
              </a:ext>
            </a:extLst>
          </p:cNvPr>
          <p:cNvSpPr txBox="1"/>
          <p:nvPr/>
        </p:nvSpPr>
        <p:spPr>
          <a:xfrm>
            <a:off x="6858886" y="2757394"/>
            <a:ext cx="11415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create</a:t>
            </a:r>
            <a:endParaRPr lang="de-DE" sz="1400" dirty="0"/>
          </a:p>
          <a:p>
            <a:pPr algn="ctr"/>
            <a:r>
              <a:rPr lang="de-DE" sz="1400" dirty="0"/>
              <a:t>Pull Request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211F0D2-7C1D-66F4-2F72-99A26C0BD5E5}"/>
              </a:ext>
            </a:extLst>
          </p:cNvPr>
          <p:cNvSpPr/>
          <p:nvPr/>
        </p:nvSpPr>
        <p:spPr>
          <a:xfrm>
            <a:off x="6634231" y="3485647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D2B81A6E-3B71-AD5E-0EDE-E137FEAE7AA2}"/>
              </a:ext>
            </a:extLst>
          </p:cNvPr>
          <p:cNvCxnSpPr>
            <a:cxnSpLocks/>
            <a:stCxn id="50" idx="4"/>
            <a:endCxn id="56" idx="0"/>
          </p:cNvCxnSpPr>
          <p:nvPr/>
        </p:nvCxnSpPr>
        <p:spPr>
          <a:xfrm rot="16200000" flipH="1">
            <a:off x="6578555" y="3339970"/>
            <a:ext cx="290753" cy="600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0" name="Graphic 59" descr="Chat with solid fill">
            <a:extLst>
              <a:ext uri="{FF2B5EF4-FFF2-40B4-BE49-F238E27FC236}">
                <a16:creationId xmlns:a16="http://schemas.microsoft.com/office/drawing/2014/main" id="{F41B2938-4E52-7FBA-654C-7AC96ABF09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99521" y="3423405"/>
            <a:ext cx="304484" cy="304484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093EB082-BEE4-BAF0-B32C-3334B2455EB8}"/>
              </a:ext>
            </a:extLst>
          </p:cNvPr>
          <p:cNvSpPr txBox="1"/>
          <p:nvPr/>
        </p:nvSpPr>
        <p:spPr>
          <a:xfrm>
            <a:off x="7093971" y="3381268"/>
            <a:ext cx="13118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get</a:t>
            </a:r>
            <a:r>
              <a:rPr lang="de-DE" sz="1400" dirty="0"/>
              <a:t> </a:t>
            </a:r>
            <a:r>
              <a:rPr lang="de-DE" sz="1400" dirty="0" err="1"/>
              <a:t>feedback</a:t>
            </a:r>
            <a:endParaRPr lang="de-DE" sz="14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2A20D60F-C02D-8407-E786-4C5D0245D044}"/>
              </a:ext>
            </a:extLst>
          </p:cNvPr>
          <p:cNvCxnSpPr>
            <a:cxnSpLocks/>
            <a:stCxn id="56" idx="4"/>
            <a:endCxn id="67" idx="6"/>
          </p:cNvCxnSpPr>
          <p:nvPr/>
        </p:nvCxnSpPr>
        <p:spPr>
          <a:xfrm rot="5400000">
            <a:off x="6215023" y="3496879"/>
            <a:ext cx="340440" cy="677976"/>
          </a:xfrm>
          <a:prstGeom prst="bentConnector2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14C8F192-DF03-69CF-EED1-89FEAE744B04}"/>
              </a:ext>
            </a:extLst>
          </p:cNvPr>
          <p:cNvSpPr/>
          <p:nvPr/>
        </p:nvSpPr>
        <p:spPr>
          <a:xfrm>
            <a:off x="5839233" y="1684697"/>
            <a:ext cx="180000" cy="18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4481A4DF-67DE-DE5F-FFCD-294028AF63B7}"/>
              </a:ext>
            </a:extLst>
          </p:cNvPr>
          <p:cNvSpPr/>
          <p:nvPr/>
        </p:nvSpPr>
        <p:spPr>
          <a:xfrm>
            <a:off x="5850663" y="2641503"/>
            <a:ext cx="180000" cy="18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81BBF04-B1EA-3953-788E-8785A0CF0D85}"/>
              </a:ext>
            </a:extLst>
          </p:cNvPr>
          <p:cNvSpPr/>
          <p:nvPr/>
        </p:nvSpPr>
        <p:spPr>
          <a:xfrm>
            <a:off x="5848230" y="2227184"/>
            <a:ext cx="180000" cy="18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74AE8C19-AC17-62A5-F893-B6280FBD905C}"/>
              </a:ext>
            </a:extLst>
          </p:cNvPr>
          <p:cNvSpPr/>
          <p:nvPr/>
        </p:nvSpPr>
        <p:spPr>
          <a:xfrm>
            <a:off x="5866255" y="3916087"/>
            <a:ext cx="180000" cy="180000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2F1B954-7914-B7BB-C153-625C2CB334BB}"/>
              </a:ext>
            </a:extLst>
          </p:cNvPr>
          <p:cNvSpPr txBox="1"/>
          <p:nvPr/>
        </p:nvSpPr>
        <p:spPr>
          <a:xfrm>
            <a:off x="6209029" y="4020412"/>
            <a:ext cx="13118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merge</a:t>
            </a:r>
            <a:r>
              <a:rPr lang="de-DE" sz="1400" dirty="0"/>
              <a:t> </a:t>
            </a:r>
            <a:r>
              <a:rPr lang="de-DE" sz="1400" dirty="0" err="1"/>
              <a:t>branch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01511634"/>
      </p:ext>
    </p:extLst>
  </p:cSld>
  <p:clrMapOvr>
    <a:masterClrMapping/>
  </p:clrMapOvr>
  <p:transition spd="slow" advClick="0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3F4C5-B706-887E-04F1-B810329D3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Challenge </a:t>
            </a:r>
            <a:r>
              <a:rPr lang="de-DE" dirty="0" err="1"/>
              <a:t>without</a:t>
            </a:r>
            <a:r>
              <a:rPr lang="de-DE" dirty="0"/>
              <a:t> Version Contro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8B6950-F719-6ADC-FAD9-5274FC3D7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4248001" cy="353978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Team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engineers</a:t>
            </a:r>
            <a:r>
              <a:rPr lang="de-DE" b="1" dirty="0"/>
              <a:t> </a:t>
            </a:r>
            <a:r>
              <a:rPr lang="de-DE" b="1" dirty="0" err="1"/>
              <a:t>working</a:t>
            </a:r>
            <a:r>
              <a:rPr lang="de-DE" b="1" dirty="0"/>
              <a:t> on </a:t>
            </a:r>
            <a:r>
              <a:rPr lang="de-DE" b="1" dirty="0" err="1"/>
              <a:t>the</a:t>
            </a:r>
            <a:r>
              <a:rPr lang="de-DE" b="1" dirty="0"/>
              <a:t> same </a:t>
            </a:r>
            <a:r>
              <a:rPr lang="de-DE" b="1" dirty="0" err="1"/>
              <a:t>project</a:t>
            </a:r>
            <a:endParaRPr lang="de-DE" b="1" dirty="0"/>
          </a:p>
          <a:p>
            <a:pPr marL="0" indent="0">
              <a:buNone/>
            </a:pPr>
            <a:r>
              <a:rPr lang="de-DE" dirty="0"/>
              <a:t>Challenges:</a:t>
            </a:r>
          </a:p>
          <a:p>
            <a:r>
              <a:rPr lang="de-DE" dirty="0"/>
              <a:t>Multiple </a:t>
            </a:r>
            <a:r>
              <a:rPr lang="de-DE" dirty="0" err="1"/>
              <a:t>copi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codebase</a:t>
            </a:r>
            <a:endParaRPr lang="de-DE" dirty="0"/>
          </a:p>
          <a:p>
            <a:r>
              <a:rPr lang="en-US" dirty="0"/>
              <a:t>Difficulty in tracking changes:</a:t>
            </a:r>
            <a:br>
              <a:rPr lang="en-US" dirty="0"/>
            </a:br>
            <a:r>
              <a:rPr lang="en-US" dirty="0"/>
              <a:t>Who made what change, and why?</a:t>
            </a:r>
          </a:p>
          <a:p>
            <a:r>
              <a:rPr lang="en-US" dirty="0"/>
              <a:t>Risk of losing critical work by deletion or overwriting</a:t>
            </a:r>
          </a:p>
          <a:p>
            <a:r>
              <a:rPr lang="en-US" dirty="0"/>
              <a:t>Merging individual contributions manually (emailing files, copy-pasting code)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9560BB-2A46-B4CA-D1F5-D977E57206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037AEC-3541-DC57-D535-DB398A4FD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F2F3304-725A-0BF3-6EA9-2047257519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2196618-B4A1-D670-F287-532D0B1BED3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E3045C2-7189-4F78-B7FE-9F7F1342C5AD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126D8FD-41E4-4737-7434-8F4EE0927F6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C5052A-3B8E-AF4A-63D8-03F68691B3E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E0DE663-3CE7-EC33-E47D-B843D63362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4410" y="1546605"/>
            <a:ext cx="4382753" cy="1827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878479"/>
      </p:ext>
    </p:extLst>
  </p:cSld>
  <p:clrMapOvr>
    <a:masterClrMapping/>
  </p:clrMapOvr>
  <p:transition spd="slow" advClick="0"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9E2840-4F91-6E81-315D-A07F52055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err="1"/>
              <a:t>Branching</a:t>
            </a:r>
            <a:r>
              <a:rPr lang="de-DE" sz="2000" dirty="0"/>
              <a:t> </a:t>
            </a:r>
            <a:r>
              <a:rPr lang="de-DE" sz="2000" dirty="0" err="1"/>
              <a:t>Strategies</a:t>
            </a:r>
            <a:r>
              <a:rPr lang="de-DE" sz="2000" dirty="0"/>
              <a:t>: </a:t>
            </a:r>
            <a:r>
              <a:rPr lang="de-DE" sz="2000" dirty="0" err="1"/>
              <a:t>Git</a:t>
            </a:r>
            <a:r>
              <a:rPr lang="de-DE" sz="2000" dirty="0"/>
              <a:t> Flo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492D01-6FB8-E76C-74E8-5E075A375D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1595EB-DC85-1D85-A250-11B95961E7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A26BCA-B2C0-F968-B976-48C07B8816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060450"/>
            <a:ext cx="4755304" cy="3539788"/>
          </a:xfrm>
        </p:spPr>
        <p:txBody>
          <a:bodyPr/>
          <a:lstStyle/>
          <a:p>
            <a:r>
              <a:rPr lang="en-US" dirty="0"/>
              <a:t>Git Flow is designed for projects with </a:t>
            </a:r>
            <a:r>
              <a:rPr lang="en-US" b="1" dirty="0"/>
              <a:t>well-defined release cycles</a:t>
            </a:r>
            <a:r>
              <a:rPr lang="en-US" dirty="0"/>
              <a:t>.</a:t>
            </a:r>
          </a:p>
          <a:p>
            <a:r>
              <a:rPr lang="en-US" dirty="0"/>
              <a:t>Main concep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Multiple long-lived branches </a:t>
            </a:r>
            <a:r>
              <a:rPr lang="en-US" dirty="0"/>
              <a:t>(e.g., main, develop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Feature branches </a:t>
            </a:r>
            <a:r>
              <a:rPr lang="en-US" dirty="0"/>
              <a:t>for new functiona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Release and hotfix branches </a:t>
            </a:r>
            <a:r>
              <a:rPr lang="en-US" dirty="0"/>
              <a:t>for versioning and bug fixes.</a:t>
            </a:r>
          </a:p>
          <a:p>
            <a:r>
              <a:rPr lang="de-DE" dirty="0"/>
              <a:t>Best </a:t>
            </a:r>
            <a:r>
              <a:rPr lang="de-DE" dirty="0" err="1"/>
              <a:t>for</a:t>
            </a:r>
            <a:r>
              <a:rPr lang="de-DE" dirty="0"/>
              <a:t>:</a:t>
            </a:r>
          </a:p>
          <a:p>
            <a:pPr lvl="1"/>
            <a:r>
              <a:rPr lang="en-US" dirty="0"/>
              <a:t>Teams working with planned releases and more </a:t>
            </a:r>
            <a:r>
              <a:rPr lang="en-US" b="1" dirty="0"/>
              <a:t>complex workflow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Projects that require </a:t>
            </a:r>
            <a:r>
              <a:rPr lang="en-US" b="1" dirty="0"/>
              <a:t>stable releases </a:t>
            </a:r>
            <a:r>
              <a:rPr lang="en-US" dirty="0"/>
              <a:t>and multiple feature developments at the same time.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7F65ED-73C6-5077-0972-A2F6580641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st Practic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8B2809D-3668-E85A-9060-BFAF97ED9AA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6853DEA8-B557-4EF2-A37E-B628DB27044F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1C0615-4665-9171-A9D5-FEFF5F0925B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2125C1-D09E-ADED-7992-C935D32E9DC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0</a:t>
            </a:fld>
            <a:endParaRPr lang="de-D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C74E260-47E9-F592-1788-65291AFE51D3}"/>
              </a:ext>
            </a:extLst>
          </p:cNvPr>
          <p:cNvCxnSpPr>
            <a:cxnSpLocks/>
          </p:cNvCxnSpPr>
          <p:nvPr/>
        </p:nvCxnSpPr>
        <p:spPr>
          <a:xfrm>
            <a:off x="5545450" y="737407"/>
            <a:ext cx="43841" cy="3820438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ACE7D0D-35EC-1A95-C5D2-552E6DD133D5}"/>
              </a:ext>
            </a:extLst>
          </p:cNvPr>
          <p:cNvSpPr txBox="1"/>
          <p:nvPr/>
        </p:nvSpPr>
        <p:spPr>
          <a:xfrm>
            <a:off x="5253500" y="400093"/>
            <a:ext cx="5838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>
                <a:solidFill>
                  <a:schemeClr val="accent1"/>
                </a:solidFill>
              </a:rPr>
              <a:t>main</a:t>
            </a:r>
            <a:endParaRPr lang="de-DE" sz="1400" dirty="0">
              <a:solidFill>
                <a:schemeClr val="accent1"/>
              </a:solidFill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BE1536C3-9E6E-4A81-3324-F4EFD801CD34}"/>
              </a:ext>
            </a:extLst>
          </p:cNvPr>
          <p:cNvCxnSpPr>
            <a:cxnSpLocks/>
            <a:stCxn id="43" idx="5"/>
            <a:endCxn id="22" idx="1"/>
          </p:cNvCxnSpPr>
          <p:nvPr/>
        </p:nvCxnSpPr>
        <p:spPr>
          <a:xfrm>
            <a:off x="7341981" y="2106393"/>
            <a:ext cx="485762" cy="288902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E86CAB63-299F-FC96-9011-D5E03E78BBD9}"/>
              </a:ext>
            </a:extLst>
          </p:cNvPr>
          <p:cNvCxnSpPr>
            <a:cxnSpLocks/>
            <a:stCxn id="22" idx="4"/>
            <a:endCxn id="25" idx="0"/>
          </p:cNvCxnSpPr>
          <p:nvPr/>
        </p:nvCxnSpPr>
        <p:spPr>
          <a:xfrm>
            <a:off x="7891383" y="2548935"/>
            <a:ext cx="0" cy="220495"/>
          </a:xfrm>
          <a:prstGeom prst="straightConnector1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7ECB95DB-3E30-6275-F140-F313F8E6E657}"/>
              </a:ext>
            </a:extLst>
          </p:cNvPr>
          <p:cNvCxnSpPr>
            <a:cxnSpLocks/>
            <a:stCxn id="25" idx="3"/>
            <a:endCxn id="53" idx="6"/>
          </p:cNvCxnSpPr>
          <p:nvPr/>
        </p:nvCxnSpPr>
        <p:spPr>
          <a:xfrm flipH="1">
            <a:off x="7368768" y="2923070"/>
            <a:ext cx="458975" cy="186558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9F4EF06F-E4A8-2A45-5F15-EAEFD2EE6A5C}"/>
              </a:ext>
            </a:extLst>
          </p:cNvPr>
          <p:cNvCxnSpPr>
            <a:cxnSpLocks/>
            <a:stCxn id="40" idx="4"/>
            <a:endCxn id="144" idx="0"/>
          </p:cNvCxnSpPr>
          <p:nvPr/>
        </p:nvCxnSpPr>
        <p:spPr>
          <a:xfrm>
            <a:off x="8438758" y="2458935"/>
            <a:ext cx="1615" cy="276146"/>
          </a:xfrm>
          <a:prstGeom prst="straightConnector1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14C8F192-DF03-69CF-EED1-89FEAE744B04}"/>
              </a:ext>
            </a:extLst>
          </p:cNvPr>
          <p:cNvSpPr/>
          <p:nvPr/>
        </p:nvSpPr>
        <p:spPr>
          <a:xfrm>
            <a:off x="5474162" y="2424137"/>
            <a:ext cx="180000" cy="180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74AE8C19-AC17-62A5-F893-B6280FBD905C}"/>
              </a:ext>
            </a:extLst>
          </p:cNvPr>
          <p:cNvSpPr/>
          <p:nvPr/>
        </p:nvSpPr>
        <p:spPr>
          <a:xfrm>
            <a:off x="5492875" y="4136102"/>
            <a:ext cx="180000" cy="180000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26EB85B-51B1-CC92-D7B4-EAB3129655F9}"/>
              </a:ext>
            </a:extLst>
          </p:cNvPr>
          <p:cNvCxnSpPr>
            <a:cxnSpLocks/>
            <a:stCxn id="18" idx="5"/>
            <a:endCxn id="98" idx="1"/>
          </p:cNvCxnSpPr>
          <p:nvPr/>
        </p:nvCxnSpPr>
        <p:spPr>
          <a:xfrm>
            <a:off x="5615641" y="1385849"/>
            <a:ext cx="438642" cy="312902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4C724995-1FF1-D3A5-4AC7-A33B15BF813A}"/>
              </a:ext>
            </a:extLst>
          </p:cNvPr>
          <p:cNvSpPr txBox="1"/>
          <p:nvPr/>
        </p:nvSpPr>
        <p:spPr>
          <a:xfrm>
            <a:off x="5099448" y="1195493"/>
            <a:ext cx="4042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v0.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1692DC-92EA-2AB2-C7A0-F2BBCC5F201E}"/>
              </a:ext>
            </a:extLst>
          </p:cNvPr>
          <p:cNvSpPr txBox="1"/>
          <p:nvPr/>
        </p:nvSpPr>
        <p:spPr>
          <a:xfrm>
            <a:off x="5099448" y="2002727"/>
            <a:ext cx="4042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v0.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71A9A9-142B-F2F7-09A2-EEF77134046D}"/>
              </a:ext>
            </a:extLst>
          </p:cNvPr>
          <p:cNvSpPr txBox="1"/>
          <p:nvPr/>
        </p:nvSpPr>
        <p:spPr>
          <a:xfrm>
            <a:off x="5105268" y="4102316"/>
            <a:ext cx="4042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v1.0</a:t>
            </a: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A1D8F4D0-3173-6D22-727D-AC40393E3C03}"/>
              </a:ext>
            </a:extLst>
          </p:cNvPr>
          <p:cNvCxnSpPr>
            <a:cxnSpLocks/>
            <a:stCxn id="14" idx="3"/>
            <a:endCxn id="64" idx="6"/>
          </p:cNvCxnSpPr>
          <p:nvPr/>
        </p:nvCxnSpPr>
        <p:spPr>
          <a:xfrm flipH="1">
            <a:off x="5654162" y="2175669"/>
            <a:ext cx="400121" cy="338468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45EFB08B-FD2B-97E5-2206-F47450F9FD00}"/>
              </a:ext>
            </a:extLst>
          </p:cNvPr>
          <p:cNvSpPr txBox="1"/>
          <p:nvPr/>
        </p:nvSpPr>
        <p:spPr>
          <a:xfrm>
            <a:off x="5743594" y="400936"/>
            <a:ext cx="6391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>
                <a:solidFill>
                  <a:schemeClr val="accent6"/>
                </a:solidFill>
              </a:rPr>
              <a:t>hotfix</a:t>
            </a:r>
            <a:endParaRPr lang="de-DE" sz="1400" dirty="0">
              <a:solidFill>
                <a:schemeClr val="accent6"/>
              </a:solidFill>
            </a:endParaRP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B1C6DE56-5758-F906-A597-E8FA33CC3A79}"/>
              </a:ext>
            </a:extLst>
          </p:cNvPr>
          <p:cNvCxnSpPr>
            <a:cxnSpLocks/>
            <a:stCxn id="18" idx="6"/>
            <a:endCxn id="34" idx="2"/>
          </p:cNvCxnSpPr>
          <p:nvPr/>
        </p:nvCxnSpPr>
        <p:spPr>
          <a:xfrm>
            <a:off x="5642001" y="1322209"/>
            <a:ext cx="1546764" cy="289934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CB4374D3-D790-70D8-3B48-191388301DF2}"/>
              </a:ext>
            </a:extLst>
          </p:cNvPr>
          <p:cNvCxnSpPr>
            <a:cxnSpLocks/>
            <a:stCxn id="34" idx="4"/>
            <a:endCxn id="43" idx="0"/>
          </p:cNvCxnSpPr>
          <p:nvPr/>
        </p:nvCxnSpPr>
        <p:spPr>
          <a:xfrm rot="5400000">
            <a:off x="7153248" y="1827236"/>
            <a:ext cx="250610" cy="424"/>
          </a:xfrm>
          <a:prstGeom prst="bentConnector3">
            <a:avLst>
              <a:gd name="adj1" fmla="val 50000"/>
            </a:avLst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F0932AE7-5DE6-4440-4B0B-259827C7EB77}"/>
              </a:ext>
            </a:extLst>
          </p:cNvPr>
          <p:cNvCxnSpPr>
            <a:cxnSpLocks/>
            <a:stCxn id="43" idx="4"/>
            <a:endCxn id="47" idx="0"/>
          </p:cNvCxnSpPr>
          <p:nvPr/>
        </p:nvCxnSpPr>
        <p:spPr>
          <a:xfrm rot="16200000" flipH="1">
            <a:off x="7134407" y="2276687"/>
            <a:ext cx="288294" cy="426"/>
          </a:xfrm>
          <a:prstGeom prst="bentConnector3">
            <a:avLst>
              <a:gd name="adj1" fmla="val 50000"/>
            </a:avLst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F37726AF-42CE-58DE-2795-F4792766D6AC}"/>
              </a:ext>
            </a:extLst>
          </p:cNvPr>
          <p:cNvCxnSpPr>
            <a:cxnSpLocks/>
            <a:stCxn id="47" idx="4"/>
            <a:endCxn id="53" idx="0"/>
          </p:cNvCxnSpPr>
          <p:nvPr/>
        </p:nvCxnSpPr>
        <p:spPr>
          <a:xfrm rot="16200000" flipH="1">
            <a:off x="7069477" y="2810336"/>
            <a:ext cx="418581" cy="1"/>
          </a:xfrm>
          <a:prstGeom prst="bentConnector3">
            <a:avLst>
              <a:gd name="adj1" fmla="val 50000"/>
            </a:avLst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64559CFA-FA97-A6D6-8B42-36E0AE14959F}"/>
              </a:ext>
            </a:extLst>
          </p:cNvPr>
          <p:cNvCxnSpPr>
            <a:cxnSpLocks/>
            <a:stCxn id="14" idx="6"/>
            <a:endCxn id="47" idx="2"/>
          </p:cNvCxnSpPr>
          <p:nvPr/>
        </p:nvCxnSpPr>
        <p:spPr>
          <a:xfrm>
            <a:off x="6207923" y="2112029"/>
            <a:ext cx="980844" cy="399018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664E43D2-A9D5-B822-BE8A-B86A7C6F0349}"/>
              </a:ext>
            </a:extLst>
          </p:cNvPr>
          <p:cNvSpPr/>
          <p:nvPr/>
        </p:nvSpPr>
        <p:spPr>
          <a:xfrm>
            <a:off x="5462001" y="1232209"/>
            <a:ext cx="180000" cy="180000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500" dirty="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84EF3A-DE78-6D97-DDFC-D40CA0C165D2}"/>
              </a:ext>
            </a:extLst>
          </p:cNvPr>
          <p:cNvSpPr/>
          <p:nvPr/>
        </p:nvSpPr>
        <p:spPr>
          <a:xfrm>
            <a:off x="6027923" y="2022029"/>
            <a:ext cx="180000" cy="180000"/>
          </a:xfrm>
          <a:prstGeom prst="ellipse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5E04CC96-02EE-CDC8-4F8F-207EEC3257CC}"/>
              </a:ext>
            </a:extLst>
          </p:cNvPr>
          <p:cNvCxnSpPr>
            <a:cxnSpLocks/>
            <a:stCxn id="89" idx="4"/>
            <a:endCxn id="91" idx="0"/>
          </p:cNvCxnSpPr>
          <p:nvPr/>
        </p:nvCxnSpPr>
        <p:spPr>
          <a:xfrm rot="5400000">
            <a:off x="6514350" y="3703031"/>
            <a:ext cx="254637" cy="2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4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9" name="Oval 88">
            <a:extLst>
              <a:ext uri="{FF2B5EF4-FFF2-40B4-BE49-F238E27FC236}">
                <a16:creationId xmlns:a16="http://schemas.microsoft.com/office/drawing/2014/main" id="{10B72025-97F7-D358-9BE3-B93E1D780C47}"/>
              </a:ext>
            </a:extLst>
          </p:cNvPr>
          <p:cNvSpPr/>
          <p:nvPr/>
        </p:nvSpPr>
        <p:spPr>
          <a:xfrm>
            <a:off x="6551669" y="3395714"/>
            <a:ext cx="180000" cy="180000"/>
          </a:xfrm>
          <a:prstGeom prst="ellips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EF0A0B0B-A728-0E89-36BB-55F5416EAA9C}"/>
              </a:ext>
            </a:extLst>
          </p:cNvPr>
          <p:cNvSpPr/>
          <p:nvPr/>
        </p:nvSpPr>
        <p:spPr>
          <a:xfrm>
            <a:off x="7188341" y="1952753"/>
            <a:ext cx="180000" cy="180000"/>
          </a:xfrm>
          <a:prstGeom prst="ellipse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DB6FD3DB-936F-8923-CD5A-F64493131174}"/>
              </a:ext>
            </a:extLst>
          </p:cNvPr>
          <p:cNvSpPr/>
          <p:nvPr/>
        </p:nvSpPr>
        <p:spPr>
          <a:xfrm>
            <a:off x="7188767" y="2421047"/>
            <a:ext cx="180000" cy="180000"/>
          </a:xfrm>
          <a:prstGeom prst="ellipse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FAE28A33-9752-C537-E5F1-5876FC0D5E97}"/>
              </a:ext>
            </a:extLst>
          </p:cNvPr>
          <p:cNvCxnSpPr>
            <a:cxnSpLocks/>
            <a:stCxn id="53" idx="3"/>
            <a:endCxn id="89" idx="7"/>
          </p:cNvCxnSpPr>
          <p:nvPr/>
        </p:nvCxnSpPr>
        <p:spPr>
          <a:xfrm flipH="1">
            <a:off x="6705309" y="3173268"/>
            <a:ext cx="509819" cy="248806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45D04F0F-1B21-4F08-DD16-96B9DB26E1FF}"/>
              </a:ext>
            </a:extLst>
          </p:cNvPr>
          <p:cNvSpPr/>
          <p:nvPr/>
        </p:nvSpPr>
        <p:spPr>
          <a:xfrm>
            <a:off x="7188768" y="3019628"/>
            <a:ext cx="180000" cy="180000"/>
          </a:xfrm>
          <a:prstGeom prst="ellipse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4" name="Connector: Elbow 26">
            <a:extLst>
              <a:ext uri="{FF2B5EF4-FFF2-40B4-BE49-F238E27FC236}">
                <a16:creationId xmlns:a16="http://schemas.microsoft.com/office/drawing/2014/main" id="{EC17283D-1946-7041-ADB2-30ED83D57FC3}"/>
              </a:ext>
            </a:extLst>
          </p:cNvPr>
          <p:cNvCxnSpPr>
            <a:cxnSpLocks/>
            <a:stCxn id="98" idx="4"/>
            <a:endCxn id="14" idx="0"/>
          </p:cNvCxnSpPr>
          <p:nvPr/>
        </p:nvCxnSpPr>
        <p:spPr>
          <a:xfrm>
            <a:off x="6117923" y="1852391"/>
            <a:ext cx="0" cy="169638"/>
          </a:xfrm>
          <a:prstGeom prst="straightConnector1">
            <a:avLst/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Oval 97">
            <a:extLst>
              <a:ext uri="{FF2B5EF4-FFF2-40B4-BE49-F238E27FC236}">
                <a16:creationId xmlns:a16="http://schemas.microsoft.com/office/drawing/2014/main" id="{18FA6F35-4E38-909E-738D-5D280CBA5E8D}"/>
              </a:ext>
            </a:extLst>
          </p:cNvPr>
          <p:cNvSpPr/>
          <p:nvPr/>
        </p:nvSpPr>
        <p:spPr>
          <a:xfrm>
            <a:off x="6027923" y="1672391"/>
            <a:ext cx="180000" cy="180000"/>
          </a:xfrm>
          <a:prstGeom prst="ellipse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7" name="Connector: Elbow 93">
            <a:extLst>
              <a:ext uri="{FF2B5EF4-FFF2-40B4-BE49-F238E27FC236}">
                <a16:creationId xmlns:a16="http://schemas.microsoft.com/office/drawing/2014/main" id="{0374AF77-83DE-F147-C776-33C941A7CC2A}"/>
              </a:ext>
            </a:extLst>
          </p:cNvPr>
          <p:cNvCxnSpPr>
            <a:cxnSpLocks/>
            <a:stCxn id="91" idx="2"/>
            <a:endCxn id="67" idx="6"/>
          </p:cNvCxnSpPr>
          <p:nvPr/>
        </p:nvCxnSpPr>
        <p:spPr>
          <a:xfrm flipH="1">
            <a:off x="5672875" y="3920351"/>
            <a:ext cx="878792" cy="305751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FB5D55FD-8858-C96F-81B9-E11AC1A6C0DA}"/>
              </a:ext>
            </a:extLst>
          </p:cNvPr>
          <p:cNvSpPr txBox="1"/>
          <p:nvPr/>
        </p:nvSpPr>
        <p:spPr>
          <a:xfrm>
            <a:off x="6255916" y="399447"/>
            <a:ext cx="7715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4"/>
                </a:solidFill>
              </a:rPr>
              <a:t>release</a:t>
            </a: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43F720DA-FB86-CEB9-1C3C-2B5D8EF6D2BC}"/>
              </a:ext>
            </a:extLst>
          </p:cNvPr>
          <p:cNvCxnSpPr>
            <a:cxnSpLocks/>
            <a:stCxn id="53" idx="4"/>
            <a:endCxn id="112" idx="0"/>
          </p:cNvCxnSpPr>
          <p:nvPr/>
        </p:nvCxnSpPr>
        <p:spPr>
          <a:xfrm>
            <a:off x="7278768" y="3199628"/>
            <a:ext cx="0" cy="930895"/>
          </a:xfrm>
          <a:prstGeom prst="straightConnector1">
            <a:avLst/>
          </a:prstGeom>
          <a:ln w="25400">
            <a:solidFill>
              <a:srgbClr val="7030A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Oval 111">
            <a:extLst>
              <a:ext uri="{FF2B5EF4-FFF2-40B4-BE49-F238E27FC236}">
                <a16:creationId xmlns:a16="http://schemas.microsoft.com/office/drawing/2014/main" id="{0F0581B2-ABF1-7A54-5896-F90CC2AC4865}"/>
              </a:ext>
            </a:extLst>
          </p:cNvPr>
          <p:cNvSpPr/>
          <p:nvPr/>
        </p:nvSpPr>
        <p:spPr>
          <a:xfrm>
            <a:off x="7188768" y="4130523"/>
            <a:ext cx="180000" cy="180000"/>
          </a:xfrm>
          <a:prstGeom prst="ellipse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8" name="Connector: Elbow 93">
            <a:extLst>
              <a:ext uri="{FF2B5EF4-FFF2-40B4-BE49-F238E27FC236}">
                <a16:creationId xmlns:a16="http://schemas.microsoft.com/office/drawing/2014/main" id="{730F5FDA-5A82-6257-9AC6-2413732F7C89}"/>
              </a:ext>
            </a:extLst>
          </p:cNvPr>
          <p:cNvCxnSpPr>
            <a:cxnSpLocks/>
            <a:stCxn id="91" idx="6"/>
            <a:endCxn id="112" idx="2"/>
          </p:cNvCxnSpPr>
          <p:nvPr/>
        </p:nvCxnSpPr>
        <p:spPr>
          <a:xfrm>
            <a:off x="6731667" y="3920351"/>
            <a:ext cx="457101" cy="300172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1" name="Oval 90">
            <a:extLst>
              <a:ext uri="{FF2B5EF4-FFF2-40B4-BE49-F238E27FC236}">
                <a16:creationId xmlns:a16="http://schemas.microsoft.com/office/drawing/2014/main" id="{DCA3130D-FC29-AA7B-7ACE-5CF21A3BDF8C}"/>
              </a:ext>
            </a:extLst>
          </p:cNvPr>
          <p:cNvSpPr/>
          <p:nvPr/>
        </p:nvSpPr>
        <p:spPr>
          <a:xfrm>
            <a:off x="6551667" y="3830351"/>
            <a:ext cx="180000" cy="180000"/>
          </a:xfrm>
          <a:prstGeom prst="ellips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FA70BB9-818A-6872-86EC-5EC213F362F9}"/>
              </a:ext>
            </a:extLst>
          </p:cNvPr>
          <p:cNvSpPr/>
          <p:nvPr/>
        </p:nvSpPr>
        <p:spPr>
          <a:xfrm>
            <a:off x="7801383" y="2769430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8B3E4B8-0393-5C9B-1B30-8BE4E5C85F97}"/>
              </a:ext>
            </a:extLst>
          </p:cNvPr>
          <p:cNvSpPr/>
          <p:nvPr/>
        </p:nvSpPr>
        <p:spPr>
          <a:xfrm>
            <a:off x="7801383" y="2368935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38" name="Connector: Elbow 51">
            <a:extLst>
              <a:ext uri="{FF2B5EF4-FFF2-40B4-BE49-F238E27FC236}">
                <a16:creationId xmlns:a16="http://schemas.microsoft.com/office/drawing/2014/main" id="{BCC49B8F-7135-5418-B991-5C39C542ED78}"/>
              </a:ext>
            </a:extLst>
          </p:cNvPr>
          <p:cNvCxnSpPr>
            <a:cxnSpLocks/>
            <a:stCxn id="137" idx="4"/>
            <a:endCxn id="40" idx="0"/>
          </p:cNvCxnSpPr>
          <p:nvPr/>
        </p:nvCxnSpPr>
        <p:spPr>
          <a:xfrm>
            <a:off x="8438758" y="1964967"/>
            <a:ext cx="0" cy="313968"/>
          </a:xfrm>
          <a:prstGeom prst="straightConnector1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Connector: Elbow 19">
            <a:extLst>
              <a:ext uri="{FF2B5EF4-FFF2-40B4-BE49-F238E27FC236}">
                <a16:creationId xmlns:a16="http://schemas.microsoft.com/office/drawing/2014/main" id="{4C55421A-A84F-0B25-16ED-08B21EE27104}"/>
              </a:ext>
            </a:extLst>
          </p:cNvPr>
          <p:cNvCxnSpPr>
            <a:cxnSpLocks/>
            <a:stCxn id="34" idx="6"/>
            <a:endCxn id="137" idx="2"/>
          </p:cNvCxnSpPr>
          <p:nvPr/>
        </p:nvCxnSpPr>
        <p:spPr>
          <a:xfrm>
            <a:off x="7368765" y="1612143"/>
            <a:ext cx="979993" cy="262824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D3CEDADE-127E-BF9F-721F-17D2A0F99A77}"/>
              </a:ext>
            </a:extLst>
          </p:cNvPr>
          <p:cNvSpPr/>
          <p:nvPr/>
        </p:nvSpPr>
        <p:spPr>
          <a:xfrm>
            <a:off x="8348758" y="2278935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DF7186E-2359-4B6A-1C56-F3607BC7CBC4}"/>
              </a:ext>
            </a:extLst>
          </p:cNvPr>
          <p:cNvSpPr/>
          <p:nvPr/>
        </p:nvSpPr>
        <p:spPr>
          <a:xfrm>
            <a:off x="7188765" y="1522143"/>
            <a:ext cx="180000" cy="180000"/>
          </a:xfrm>
          <a:prstGeom prst="ellipse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75156400-BA4A-F41E-6597-E7CE1702AAC5}"/>
              </a:ext>
            </a:extLst>
          </p:cNvPr>
          <p:cNvSpPr/>
          <p:nvPr/>
        </p:nvSpPr>
        <p:spPr>
          <a:xfrm>
            <a:off x="8348758" y="1784967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3" name="Connector: Elbow 51">
            <a:extLst>
              <a:ext uri="{FF2B5EF4-FFF2-40B4-BE49-F238E27FC236}">
                <a16:creationId xmlns:a16="http://schemas.microsoft.com/office/drawing/2014/main" id="{4CF70D75-38DE-B1C5-C8BC-78950920E5D4}"/>
              </a:ext>
            </a:extLst>
          </p:cNvPr>
          <p:cNvCxnSpPr>
            <a:cxnSpLocks/>
            <a:stCxn id="144" idx="4"/>
            <a:endCxn id="146" idx="0"/>
          </p:cNvCxnSpPr>
          <p:nvPr/>
        </p:nvCxnSpPr>
        <p:spPr>
          <a:xfrm>
            <a:off x="8440373" y="2915081"/>
            <a:ext cx="1682" cy="309314"/>
          </a:xfrm>
          <a:prstGeom prst="straightConnector1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Oval 143">
            <a:extLst>
              <a:ext uri="{FF2B5EF4-FFF2-40B4-BE49-F238E27FC236}">
                <a16:creationId xmlns:a16="http://schemas.microsoft.com/office/drawing/2014/main" id="{DAD36558-A9A2-FA02-1A6C-299618A18EFA}"/>
              </a:ext>
            </a:extLst>
          </p:cNvPr>
          <p:cNvSpPr/>
          <p:nvPr/>
        </p:nvSpPr>
        <p:spPr>
          <a:xfrm>
            <a:off x="8350373" y="2735081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58FFA42D-9A27-2D4F-362E-8198D4811677}"/>
              </a:ext>
            </a:extLst>
          </p:cNvPr>
          <p:cNvSpPr/>
          <p:nvPr/>
        </p:nvSpPr>
        <p:spPr>
          <a:xfrm>
            <a:off x="8352055" y="3224395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0ED6A7B6-B866-0021-008D-81E2512ECD06}"/>
              </a:ext>
            </a:extLst>
          </p:cNvPr>
          <p:cNvSpPr txBox="1"/>
          <p:nvPr/>
        </p:nvSpPr>
        <p:spPr>
          <a:xfrm>
            <a:off x="6872810" y="397900"/>
            <a:ext cx="8068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>
                <a:solidFill>
                  <a:srgbClr val="7030A0"/>
                </a:solidFill>
              </a:rPr>
              <a:t>develop</a:t>
            </a:r>
            <a:endParaRPr lang="de-DE" sz="1400" dirty="0">
              <a:solidFill>
                <a:srgbClr val="7030A0"/>
              </a:solidFill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F54D525D-97D3-3BE1-646E-480BEA5A8B55}"/>
              </a:ext>
            </a:extLst>
          </p:cNvPr>
          <p:cNvSpPr txBox="1"/>
          <p:nvPr/>
        </p:nvSpPr>
        <p:spPr>
          <a:xfrm>
            <a:off x="7505629" y="400936"/>
            <a:ext cx="7715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2"/>
                </a:solidFill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3889301984"/>
      </p:ext>
    </p:extLst>
  </p:cSld>
  <p:clrMapOvr>
    <a:masterClrMapping/>
  </p:clrMapOvr>
  <p:transition spd="slow" advClick="0"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EE817F-506E-1BF6-FAD7-446D83966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</a:t>
            </a:r>
            <a:br>
              <a:rPr lang="de-DE" dirty="0"/>
            </a:br>
            <a:r>
              <a:rPr lang="de-DE" dirty="0"/>
              <a:t>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1AC2EB-CE47-6B7A-8FC6-A8C0CBE92E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F7D8F3-2A32-4F4D-B353-273A05A4A42F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693A8C-6AF0-3D86-CB8D-BAAACCDDF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B663AE-86D3-E82E-424F-8417B7948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3338872"/>
      </p:ext>
    </p:extLst>
  </p:cSld>
  <p:clrMapOvr>
    <a:masterClrMapping/>
  </p:clrMapOvr>
  <p:transition spd="slow" advClick="0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720696-AA7E-38DB-3B3D-01449B6AD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lone a Remote Repository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CA3B8B-AC09-06B7-45B3-4786A5F76E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FAE9FA2-772B-D044-15BE-921D7FF28E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BAFBE6-1ED3-16E5-2D66-8C3576B086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1F76FFD-9872-47B6-1075-9E87E91CF80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C1AA10C-5D25-414A-8DDE-6B30083C576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0A7751-3E6D-D42A-573C-291730D112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672B1B-B681-DC00-7C5A-88791D2B3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71692FA3-5AFD-26E9-FFD1-DB527B1158AD}"/>
              </a:ext>
            </a:extLst>
          </p:cNvPr>
          <p:cNvSpPr txBox="1">
            <a:spLocks/>
          </p:cNvSpPr>
          <p:nvPr/>
        </p:nvSpPr>
        <p:spPr>
          <a:xfrm>
            <a:off x="323999" y="1060450"/>
            <a:ext cx="8568001" cy="35397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3pPr>
            <a:lvl4pPr marL="719138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4pPr>
            <a:lvl5pPr marL="712788" indent="-1698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From</a:t>
            </a:r>
            <a:r>
              <a:rPr lang="de-DE" dirty="0"/>
              <a:t> </a:t>
            </a:r>
            <a:r>
              <a:rPr lang="en-US" b="1" dirty="0"/>
              <a:t>File | New | Project from Version Control</a:t>
            </a:r>
            <a:r>
              <a:rPr lang="de-DE" b="1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lone</a:t>
            </a:r>
            <a:r>
              <a:rPr lang="de-DE" dirty="0"/>
              <a:t> an </a:t>
            </a:r>
            <a:r>
              <a:rPr lang="de-DE" dirty="0" err="1"/>
              <a:t>existing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E5E74AE-7134-A66A-8CC5-F946E0E5FA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720" y="1761695"/>
            <a:ext cx="7582557" cy="2309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756281"/>
      </p:ext>
    </p:extLst>
  </p:cSld>
  <p:clrMapOvr>
    <a:masterClrMapping/>
  </p:clrMapOvr>
  <p:transition spd="slow" advClick="0"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933E-4067-E06F-0E70-C9E139CDF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 Files to Git and Track Changes﻿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6962-1002-B8E9-84A8-1C853ADAA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b="1" dirty="0"/>
              <a:t>Commit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window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b="1" dirty="0" err="1"/>
              <a:t>Unversioned</a:t>
            </a:r>
            <a:r>
              <a:rPr lang="de-DE" b="1" dirty="0"/>
              <a:t> Files </a:t>
            </a:r>
            <a:r>
              <a:rPr lang="de-DE" dirty="0"/>
              <a:t>in </a:t>
            </a:r>
            <a:r>
              <a:rPr lang="de-DE" dirty="0" err="1">
                <a:solidFill>
                  <a:schemeClr val="accent5"/>
                </a:solidFill>
              </a:rPr>
              <a:t>red</a:t>
            </a:r>
            <a:endParaRPr lang="de-DE" dirty="0">
              <a:solidFill>
                <a:schemeClr val="accent5"/>
              </a:solidFill>
            </a:endParaRPr>
          </a:p>
          <a:p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also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tracked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:</a:t>
            </a:r>
          </a:p>
          <a:p>
            <a:pPr lvl="1"/>
            <a:r>
              <a:rPr lang="de-DE" dirty="0">
                <a:solidFill>
                  <a:srgbClr val="0070C0"/>
                </a:solidFill>
              </a:rPr>
              <a:t>Blue</a:t>
            </a:r>
            <a:r>
              <a:rPr lang="de-DE" dirty="0"/>
              <a:t>: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files</a:t>
            </a:r>
            <a:endParaRPr lang="de-DE" dirty="0"/>
          </a:p>
          <a:p>
            <a:pPr lvl="1"/>
            <a:r>
              <a:rPr lang="de-DE" dirty="0">
                <a:solidFill>
                  <a:schemeClr val="bg2"/>
                </a:solidFill>
              </a:rPr>
              <a:t>Green</a:t>
            </a:r>
            <a:r>
              <a:rPr lang="de-DE" dirty="0"/>
              <a:t>: New </a:t>
            </a:r>
            <a:r>
              <a:rPr lang="de-DE" dirty="0" err="1"/>
              <a:t>files</a:t>
            </a:r>
            <a:r>
              <a:rPr lang="de-DE" dirty="0"/>
              <a:t> (</a:t>
            </a:r>
            <a:r>
              <a:rPr lang="de-DE" dirty="0" err="1"/>
              <a:t>added</a:t>
            </a:r>
            <a:r>
              <a:rPr lang="de-DE" dirty="0"/>
              <a:t>, but not </a:t>
            </a:r>
            <a:r>
              <a:rPr lang="de-DE" dirty="0" err="1"/>
              <a:t>commited</a:t>
            </a:r>
            <a:r>
              <a:rPr lang="de-DE" dirty="0"/>
              <a:t>)</a:t>
            </a:r>
          </a:p>
          <a:p>
            <a:r>
              <a:rPr lang="de-DE" dirty="0"/>
              <a:t>Double </a:t>
            </a:r>
            <a:r>
              <a:rPr lang="de-DE" dirty="0" err="1"/>
              <a:t>clicking</a:t>
            </a:r>
            <a:r>
              <a:rPr lang="de-DE" dirty="0"/>
              <a:t> a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show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ff</a:t>
            </a:r>
            <a:endParaRPr lang="de-DE" dirty="0"/>
          </a:p>
          <a:p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FF7243-CDA0-3DC1-5882-7E4AF1D848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5AF3C9-94C9-C8D9-CCE2-E6D315972C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582B85-5294-9E44-BBFE-B79FB1CEC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09187C-31B1-3179-5D80-FCD64B037F8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B00ABD0-3117-4026-A1D7-86FCC1A105DD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69060-109A-22BC-B00C-4C9D5AF851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BC71E8-753A-82EE-B4CA-9834038805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3</a:t>
            </a:fld>
            <a:endParaRPr lang="de-DE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75E80DF-71EA-24EB-7975-442679C3BA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7925" y="837781"/>
            <a:ext cx="2406562" cy="174798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B6FB313-C5FD-5F98-83F8-A72A9C0250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264" y="2675927"/>
            <a:ext cx="7637472" cy="2104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331669"/>
      </p:ext>
    </p:extLst>
  </p:cSld>
  <p:clrMapOvr>
    <a:masterClrMapping/>
  </p:clrMapOvr>
  <p:transition spd="slow" advClick="0"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933E-4067-E06F-0E70-C9E139CDF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k Changes to a File in the Editor﻿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6962-1002-B8E9-84A8-1C853ADAA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Modification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also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ee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ditor</a:t>
            </a:r>
            <a:endParaRPr lang="de-DE" dirty="0"/>
          </a:p>
          <a:p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markers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marker</a:t>
            </a:r>
            <a:r>
              <a:rPr lang="de-DE" dirty="0"/>
              <a:t> </a:t>
            </a:r>
            <a:r>
              <a:rPr lang="de-DE" dirty="0" err="1"/>
              <a:t>opens</a:t>
            </a:r>
            <a:r>
              <a:rPr lang="de-DE" dirty="0"/>
              <a:t> a </a:t>
            </a:r>
            <a:r>
              <a:rPr lang="de-DE" dirty="0" err="1"/>
              <a:t>toolbar</a:t>
            </a:r>
            <a:endParaRPr lang="de-DE" dirty="0"/>
          </a:p>
          <a:p>
            <a:pPr lvl="1"/>
            <a:r>
              <a:rPr lang="de-DE" dirty="0"/>
              <a:t>Also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conten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hown</a:t>
            </a:r>
            <a:endParaRPr lang="de-DE" dirty="0"/>
          </a:p>
          <a:p>
            <a:pPr lvl="1"/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rollback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U-turn </a:t>
            </a:r>
            <a:r>
              <a:rPr lang="de-DE" dirty="0" err="1"/>
              <a:t>arrow</a:t>
            </a:r>
            <a:endParaRPr lang="de-DE" dirty="0"/>
          </a:p>
          <a:p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FF7243-CDA0-3DC1-5882-7E4AF1D848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5AF3C9-94C9-C8D9-CCE2-E6D315972C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582B85-5294-9E44-BBFE-B79FB1CEC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09187C-31B1-3179-5D80-FCD64B037F8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31B18D6-5477-4D7A-99B6-A23DA43194E4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69060-109A-22BC-B00C-4C9D5AF851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BC71E8-753A-82EE-B4CA-9834038805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4</a:t>
            </a:fld>
            <a:endParaRPr lang="de-DE" dirty="0"/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7774BCE5-EEDD-EFA6-B449-94069ABE74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8620" y="972001"/>
            <a:ext cx="3446341" cy="1527934"/>
          </a:xfrm>
          <a:prstGeom prst="rect">
            <a:avLst/>
          </a:prstGeom>
        </p:spPr>
      </p:pic>
      <p:pic>
        <p:nvPicPr>
          <p:cNvPr id="14" name="Picture 13" descr="A computer screen with text&#10;&#10;Description automatically generated">
            <a:extLst>
              <a:ext uri="{FF2B5EF4-FFF2-40B4-BE49-F238E27FC236}">
                <a16:creationId xmlns:a16="http://schemas.microsoft.com/office/drawing/2014/main" id="{67C3E1F2-7FCF-B9F4-0569-64E854DAE8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614" y="3198947"/>
            <a:ext cx="7125222" cy="9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451694"/>
      </p:ext>
    </p:extLst>
  </p:cSld>
  <p:clrMapOvr>
    <a:masterClrMapping/>
  </p:clrMapOvr>
  <p:transition spd="slow" advClick="0"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933E-4067-E06F-0E70-C9E139CDF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vestigat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Git</a:t>
            </a:r>
            <a:r>
              <a:rPr lang="de-DE" dirty="0"/>
              <a:t> Repository﻿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6962-1002-B8E9-84A8-1C853ADAA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view project history, open the </a:t>
            </a:r>
            <a:r>
              <a:rPr lang="en-US" b="1" dirty="0"/>
              <a:t>Log</a:t>
            </a:r>
            <a:r>
              <a:rPr lang="en-US" dirty="0"/>
              <a:t> tab of the </a:t>
            </a:r>
            <a:r>
              <a:rPr lang="en-US" b="1" dirty="0"/>
              <a:t>Git</a:t>
            </a:r>
            <a:r>
              <a:rPr lang="en-US" dirty="0"/>
              <a:t> tool window</a:t>
            </a:r>
          </a:p>
          <a:p>
            <a:r>
              <a:rPr lang="en-US" dirty="0"/>
              <a:t>Shows local/remote branches, commits, and changes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FF7243-CDA0-3DC1-5882-7E4AF1D848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5AF3C9-94C9-C8D9-CCE2-E6D315972C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582B85-5294-9E44-BBFE-B79FB1CEC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09187C-31B1-3179-5D80-FCD64B037F8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AA08D3E-0D23-410D-A929-8F00FF98892D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69060-109A-22BC-B00C-4C9D5AF851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BC71E8-753A-82EE-B4CA-9834038805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5</a:t>
            </a:fld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A22981-41F8-BA7C-3F18-EFDD81DE83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521" y="1876266"/>
            <a:ext cx="8641175" cy="2804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865353"/>
      </p:ext>
    </p:extLst>
  </p:cSld>
  <p:clrMapOvr>
    <a:masterClrMapping/>
  </p:clrMapOvr>
  <p:transition spd="slow" advClick="0"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933E-4067-E06F-0E70-C9E139CDF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c With the Remote Git Reposit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6962-1002-B8E9-84A8-1C853ADAA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get changes from upstream there are three methods:</a:t>
            </a:r>
          </a:p>
          <a:p>
            <a:pPr lvl="1"/>
            <a:r>
              <a:rPr lang="en-US" b="1" dirty="0"/>
              <a:t>Fetch</a:t>
            </a:r>
            <a:r>
              <a:rPr lang="en-US" dirty="0"/>
              <a:t> changes and merge them</a:t>
            </a:r>
          </a:p>
          <a:p>
            <a:pPr lvl="1"/>
            <a:r>
              <a:rPr lang="en-US" b="1" dirty="0"/>
              <a:t>Pull</a:t>
            </a:r>
            <a:r>
              <a:rPr lang="en-US" dirty="0"/>
              <a:t> changes (Update)</a:t>
            </a:r>
          </a:p>
          <a:p>
            <a:pPr lvl="1"/>
            <a:r>
              <a:rPr lang="en-US" b="1" dirty="0"/>
              <a:t>Update project </a:t>
            </a:r>
            <a:r>
              <a:rPr lang="en-US" dirty="0"/>
              <a:t>(with merge or rebase</a:t>
            </a:r>
            <a:r>
              <a:rPr lang="en-US" b="1" dirty="0"/>
              <a:t>)</a:t>
            </a:r>
            <a:endParaRPr lang="de-DE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FF7243-CDA0-3DC1-5882-7E4AF1D848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5AF3C9-94C9-C8D9-CCE2-E6D315972C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582B85-5294-9E44-BBFE-B79FB1CEC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09187C-31B1-3179-5D80-FCD64B037F8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17117BD-DA85-4DDC-AAB7-DD2CDBB00F61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69060-109A-22BC-B00C-4C9D5AF851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BC71E8-753A-82EE-B4CA-9834038805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6</a:t>
            </a:fld>
            <a:endParaRPr lang="de-DE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8A8170C-372B-5F6F-F8DF-EDFB914D93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285" y="2355315"/>
            <a:ext cx="3735840" cy="242492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9471817-10EA-F5D7-BCFA-DDD0C294FA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841" y="3212926"/>
            <a:ext cx="4399159" cy="156731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5EB2B49-3BCE-1D97-E6E4-5C888C54B4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91877" y="1542631"/>
            <a:ext cx="3316679" cy="1410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223809"/>
      </p:ext>
    </p:extLst>
  </p:cSld>
  <p:clrMapOvr>
    <a:masterClrMapping/>
  </p:clrMapOvr>
  <p:transition spd="slow" advClick="0"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933E-4067-E06F-0E70-C9E139CDF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mit </a:t>
            </a:r>
            <a:r>
              <a:rPr lang="de-DE" dirty="0" err="1"/>
              <a:t>Change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6962-1002-B8E9-84A8-1C853ADAA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ke sure Git has your name and email configured:</a:t>
            </a:r>
            <a:br>
              <a:rPr lang="en-US" dirty="0"/>
            </a:b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config --global user.name "Wolfgang Moser“</a:t>
            </a:r>
            <a:b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</a:b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$ git config --global </a:t>
            </a:r>
            <a:r>
              <a:rPr lang="en-US" dirty="0" err="1">
                <a:highlight>
                  <a:srgbClr val="CCEBD8"/>
                </a:highlight>
                <a:latin typeface="Consolas" panose="020B0609020204030204" pitchFamily="49" charset="0"/>
              </a:rPr>
              <a:t>user.email</a:t>
            </a:r>
            <a:r>
              <a:rPr lang="en-US" dirty="0">
                <a:highlight>
                  <a:srgbClr val="CCEBD8"/>
                </a:highlight>
                <a:latin typeface="Consolas" panose="020B0609020204030204" pitchFamily="49" charset="0"/>
              </a:rPr>
              <a:t> wolfgang.moser@woodmark.de</a:t>
            </a:r>
          </a:p>
          <a:p>
            <a:r>
              <a:rPr lang="en-US" dirty="0"/>
              <a:t>Select the files that you want to commit in the </a:t>
            </a:r>
            <a:r>
              <a:rPr lang="en-US" b="1" dirty="0"/>
              <a:t>Commit</a:t>
            </a:r>
            <a:r>
              <a:rPr lang="en-US" dirty="0"/>
              <a:t> tool window</a:t>
            </a:r>
          </a:p>
          <a:p>
            <a:r>
              <a:rPr lang="en-US" dirty="0"/>
              <a:t>Enter the commit message below and press Commi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FF7243-CDA0-3DC1-5882-7E4AF1D848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5AF3C9-94C9-C8D9-CCE2-E6D315972C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582B85-5294-9E44-BBFE-B79FB1CEC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09187C-31B1-3179-5D80-FCD64B037F8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446ADCA-BFAD-459B-8BE2-E297E1FDF675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69060-109A-22BC-B00C-4C9D5AF851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BC71E8-753A-82EE-B4CA-9834038805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7</a:t>
            </a:fld>
            <a:endParaRPr lang="de-D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D43F610-1955-5D71-F236-2FB4D9BD86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091" y="2571750"/>
            <a:ext cx="7483817" cy="215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313176"/>
      </p:ext>
    </p:extLst>
  </p:cSld>
  <p:clrMapOvr>
    <a:masterClrMapping/>
  </p:clrMapOvr>
  <p:transition spd="slow" advClick="0"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933E-4067-E06F-0E70-C9E139CDF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sh </a:t>
            </a:r>
            <a:r>
              <a:rPr lang="de-DE" dirty="0" err="1"/>
              <a:t>Change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6962-1002-B8E9-84A8-1C853ADAA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4786620" cy="3539788"/>
          </a:xfrm>
        </p:spPr>
        <p:txBody>
          <a:bodyPr/>
          <a:lstStyle/>
          <a:p>
            <a:r>
              <a:rPr lang="de-DE" dirty="0" err="1"/>
              <a:t>To</a:t>
            </a:r>
            <a:r>
              <a:rPr lang="de-DE" dirty="0"/>
              <a:t> push </a:t>
            </a:r>
            <a:r>
              <a:rPr lang="de-DE" dirty="0" err="1"/>
              <a:t>changes</a:t>
            </a:r>
            <a:r>
              <a:rPr lang="de-DE" dirty="0"/>
              <a:t>, </a:t>
            </a:r>
            <a:r>
              <a:rPr lang="de-DE" dirty="0" err="1"/>
              <a:t>click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at </a:t>
            </a:r>
            <a:r>
              <a:rPr lang="de-DE" dirty="0" err="1"/>
              <a:t>the</a:t>
            </a:r>
            <a:r>
              <a:rPr lang="de-DE" dirty="0"/>
              <a:t> top and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b="1" dirty="0"/>
              <a:t>Push</a:t>
            </a:r>
          </a:p>
          <a:p>
            <a:r>
              <a:rPr lang="de-DE" dirty="0"/>
              <a:t>Review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is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mmits</a:t>
            </a:r>
            <a:r>
              <a:rPr lang="de-DE" dirty="0"/>
              <a:t> </a:t>
            </a:r>
            <a:r>
              <a:rPr lang="de-DE" dirty="0" err="1"/>
              <a:t>since</a:t>
            </a:r>
            <a:r>
              <a:rPr lang="de-DE" dirty="0"/>
              <a:t> last push</a:t>
            </a:r>
          </a:p>
          <a:p>
            <a:r>
              <a:rPr lang="de-DE" dirty="0"/>
              <a:t>Press </a:t>
            </a:r>
            <a:r>
              <a:rPr lang="de-DE" b="1" dirty="0"/>
              <a:t>Push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read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publish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FF7243-CDA0-3DC1-5882-7E4AF1D848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5AF3C9-94C9-C8D9-CCE2-E6D315972C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582B85-5294-9E44-BBFE-B79FB1CEC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09187C-31B1-3179-5D80-FCD64B037F8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370CB5E-4440-4ED0-9FE9-838DD0929C3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69060-109A-22BC-B00C-4C9D5AF851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BC71E8-753A-82EE-B4CA-9834038805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8</a:t>
            </a:fld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C2A390-083C-5C01-AA7F-299EDE39C7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8238" y="880451"/>
            <a:ext cx="3251762" cy="211566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D05452E-03A9-E3B2-9570-76891F88B4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000" y="2386249"/>
            <a:ext cx="4734991" cy="2393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284491"/>
      </p:ext>
    </p:extLst>
  </p:cSld>
  <p:clrMapOvr>
    <a:masterClrMapping/>
  </p:clrMapOvr>
  <p:transition spd="slow" advClick="0"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933E-4067-E06F-0E70-C9E139CDF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reate Bran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6962-1002-B8E9-84A8-1C853ADAA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4786620" cy="3539788"/>
          </a:xfrm>
        </p:spPr>
        <p:txBody>
          <a:bodyPr/>
          <a:lstStyle/>
          <a:p>
            <a:r>
              <a:rPr lang="en-US" dirty="0"/>
              <a:t>In the </a:t>
            </a:r>
            <a:r>
              <a:rPr lang="en-US" b="1" dirty="0"/>
              <a:t>Branches</a:t>
            </a:r>
            <a:r>
              <a:rPr lang="en-US" dirty="0"/>
              <a:t> popup, choose </a:t>
            </a:r>
            <a:r>
              <a:rPr lang="en-US" b="1" dirty="0"/>
              <a:t>New Branch</a:t>
            </a:r>
          </a:p>
          <a:p>
            <a:r>
              <a:rPr lang="en-US" dirty="0"/>
              <a:t>Use </a:t>
            </a:r>
            <a:r>
              <a:rPr lang="en-US" b="1" dirty="0"/>
              <a:t>Checkout Branch </a:t>
            </a:r>
            <a:r>
              <a:rPr lang="en-US" dirty="0"/>
              <a:t>to immediately switch to the branch after creation</a:t>
            </a:r>
          </a:p>
          <a:p>
            <a:r>
              <a:rPr lang="en-US" dirty="0"/>
              <a:t>You can group branches (by prefix), compare branches, checkout remote branches locally (after fetch), and delete branches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FF7243-CDA0-3DC1-5882-7E4AF1D848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5AF3C9-94C9-C8D9-CCE2-E6D315972C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582B85-5294-9E44-BBFE-B79FB1CEC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09187C-31B1-3179-5D80-FCD64B037F8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AB45C3E-DD8D-4E58-850C-D6384D76FAB2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69060-109A-22BC-B00C-4C9D5AF851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BC71E8-753A-82EE-B4CA-9834038805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59</a:t>
            </a:fld>
            <a:endParaRPr lang="de-D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EBEF52A-58A6-3CDC-8A93-1DEECCDB3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5605" y="728531"/>
            <a:ext cx="3114394" cy="201716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198DC4E-FFFC-D157-D5CB-7023EB0F2C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8794" y="2944428"/>
            <a:ext cx="2181205" cy="107121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41C9B9-3368-1968-BE1C-9CFFDF7669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486" y="2944428"/>
            <a:ext cx="6108744" cy="157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157004"/>
      </p:ext>
    </p:extLst>
  </p:cSld>
  <p:clrMapOvr>
    <a:masterClrMapping/>
  </p:clrMapOvr>
  <p:transition spd="slow" advClick="0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3F4C5-B706-887E-04F1-B810329D3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sion Control before Git: The CMS Era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B564D19-846C-59AB-3BC5-D735CF9582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8B6950-F719-6ADC-FAD9-5274FC3D7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3790801" cy="3539788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Early </a:t>
            </a:r>
            <a:r>
              <a:rPr lang="en-US" dirty="0"/>
              <a:t>Centralized Version Control Systems (CVCS)</a:t>
            </a:r>
            <a:r>
              <a:rPr lang="de-DE" dirty="0"/>
              <a:t>:</a:t>
            </a:r>
            <a:br>
              <a:rPr lang="de-DE" dirty="0"/>
            </a:br>
            <a:r>
              <a:rPr lang="en-US" b="1" dirty="0"/>
              <a:t>CVS</a:t>
            </a:r>
            <a:r>
              <a:rPr lang="en-US" dirty="0"/>
              <a:t>, </a:t>
            </a:r>
            <a:r>
              <a:rPr lang="en-US" b="1" dirty="0"/>
              <a:t>RCS</a:t>
            </a:r>
            <a:r>
              <a:rPr lang="en-US" dirty="0"/>
              <a:t>, </a:t>
            </a:r>
            <a:r>
              <a:rPr lang="en-US" b="1" dirty="0"/>
              <a:t>SVN</a:t>
            </a:r>
            <a:r>
              <a:rPr lang="en-US" dirty="0"/>
              <a:t> (Subversion), and </a:t>
            </a:r>
            <a:r>
              <a:rPr lang="en-US" b="1" dirty="0"/>
              <a:t>Perforce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dirty="0"/>
              <a:t>Address version control problem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entral repository</a:t>
            </a:r>
            <a:r>
              <a:rPr lang="en-US" dirty="0"/>
              <a:t>: Files stored in a single server that everyone could ac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Basic change tracking</a:t>
            </a:r>
            <a:r>
              <a:rPr lang="en-US" dirty="0"/>
              <a:t>: Developers could check out code, make changes, and commit to the central serv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Locking mechanism</a:t>
            </a:r>
            <a:r>
              <a:rPr lang="en-US" dirty="0"/>
              <a:t>: Prevented multiple people from editing the same file simultaneously.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59CC26-9180-6AA8-C9A6-A4ADB01E26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1815D32-2956-97AF-C8F2-77B2AAB520F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022000" y="1060450"/>
            <a:ext cx="3869719" cy="3539788"/>
          </a:xfrm>
        </p:spPr>
        <p:txBody>
          <a:bodyPr/>
          <a:lstStyle/>
          <a:p>
            <a:pPr marL="0" indent="0">
              <a:buNone/>
            </a:pP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</a:t>
            </a:r>
            <a:r>
              <a:rPr lang="de-DE" dirty="0" err="1"/>
              <a:t>persisted</a:t>
            </a:r>
            <a:r>
              <a:rPr lang="de-DE" dirty="0"/>
              <a:t>:</a:t>
            </a:r>
          </a:p>
          <a:p>
            <a:pPr marL="0" indent="0">
              <a:buNone/>
            </a:pPr>
            <a:r>
              <a:rPr lang="en-US" b="1" dirty="0"/>
              <a:t>Single point of failure</a:t>
            </a:r>
            <a:r>
              <a:rPr lang="en-US" dirty="0"/>
              <a:t>: If the central server went down, no one could access or commit changes.</a:t>
            </a:r>
          </a:p>
          <a:p>
            <a:pPr marL="0" indent="0">
              <a:buNone/>
            </a:pPr>
            <a:r>
              <a:rPr lang="en-US" b="1" dirty="0"/>
              <a:t>Slow performance</a:t>
            </a:r>
            <a:r>
              <a:rPr lang="en-US" dirty="0"/>
              <a:t>: Large projects (like the Linux Kernel) had slow checkouts, especially with remote servers.</a:t>
            </a:r>
          </a:p>
          <a:p>
            <a:pPr marL="0" indent="0">
              <a:buNone/>
            </a:pPr>
            <a:r>
              <a:rPr lang="en-US" b="1" dirty="0"/>
              <a:t>Poor branching and merging</a:t>
            </a:r>
            <a:r>
              <a:rPr lang="en-US" dirty="0"/>
              <a:t>: Branching was slow and merging was error-prone, leading to broken codebases.</a:t>
            </a:r>
          </a:p>
          <a:p>
            <a:pPr marL="0" indent="0">
              <a:buNone/>
            </a:pPr>
            <a:r>
              <a:rPr lang="en-US" b="1" dirty="0"/>
              <a:t>No offline work</a:t>
            </a:r>
            <a:r>
              <a:rPr lang="en-US" dirty="0"/>
              <a:t>: Developers needed a constant connection to the server to work efficiently.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F2F3304-725A-0BF3-6EA9-2047257519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2196618-B4A1-D670-F287-532D0B1BED3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E2A8B749-0277-425B-AE42-EAF6E6389E00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126D8FD-41E4-4737-7434-8F4EE0927F6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C5052A-3B8E-AF4A-63D8-03F68691B3E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7" name="Graphic 16" descr="Power with solid fill">
            <a:extLst>
              <a:ext uri="{FF2B5EF4-FFF2-40B4-BE49-F238E27FC236}">
                <a16:creationId xmlns:a16="http://schemas.microsoft.com/office/drawing/2014/main" id="{58C8F37C-7CC4-140C-47D7-F5F3A76367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18306" y="3400980"/>
            <a:ext cx="402809" cy="402809"/>
          </a:xfrm>
          <a:prstGeom prst="rect">
            <a:avLst/>
          </a:prstGeom>
        </p:spPr>
      </p:pic>
      <p:pic>
        <p:nvPicPr>
          <p:cNvPr id="19" name="Graphic 18" descr="Zipper with solid fill">
            <a:extLst>
              <a:ext uri="{FF2B5EF4-FFF2-40B4-BE49-F238E27FC236}">
                <a16:creationId xmlns:a16="http://schemas.microsoft.com/office/drawing/2014/main" id="{CA9070D6-8ABB-AC8D-9F35-A747F5F867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18306" y="2754286"/>
            <a:ext cx="402809" cy="402809"/>
          </a:xfrm>
          <a:prstGeom prst="rect">
            <a:avLst/>
          </a:prstGeom>
        </p:spPr>
      </p:pic>
      <p:pic>
        <p:nvPicPr>
          <p:cNvPr id="21" name="Graphic 20" descr="Snail with solid fill">
            <a:extLst>
              <a:ext uri="{FF2B5EF4-FFF2-40B4-BE49-F238E27FC236}">
                <a16:creationId xmlns:a16="http://schemas.microsoft.com/office/drawing/2014/main" id="{7BA81E74-5FC3-A583-7CF6-FB07C96153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18305" y="2000004"/>
            <a:ext cx="402810" cy="402810"/>
          </a:xfrm>
          <a:prstGeom prst="rect">
            <a:avLst/>
          </a:prstGeom>
        </p:spPr>
      </p:pic>
      <p:pic>
        <p:nvPicPr>
          <p:cNvPr id="23" name="Graphic 22" descr="Server with solid fill">
            <a:extLst>
              <a:ext uri="{FF2B5EF4-FFF2-40B4-BE49-F238E27FC236}">
                <a16:creationId xmlns:a16="http://schemas.microsoft.com/office/drawing/2014/main" id="{476208FD-1ED2-90E9-19A5-99813565B4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17298" y="1385300"/>
            <a:ext cx="402809" cy="40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961977"/>
      </p:ext>
    </p:extLst>
  </p:cSld>
  <p:clrMapOvr>
    <a:masterClrMapping/>
  </p:clrMapOvr>
  <p:transition spd="slow" advClick="0"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933E-4067-E06F-0E70-C9E139CDF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base</a:t>
            </a:r>
            <a:r>
              <a:rPr lang="de-DE" dirty="0"/>
              <a:t> </a:t>
            </a:r>
            <a:r>
              <a:rPr lang="de-DE" dirty="0" err="1"/>
              <a:t>Branche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6962-1002-B8E9-84A8-1C853ADAA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4640508" cy="3539788"/>
          </a:xfrm>
        </p:spPr>
        <p:txBody>
          <a:bodyPr/>
          <a:lstStyle/>
          <a:p>
            <a:r>
              <a:rPr lang="en-US" dirty="0"/>
              <a:t>From the main menu select </a:t>
            </a:r>
            <a:r>
              <a:rPr lang="en-US" b="1" dirty="0"/>
              <a:t>Git | Rebase</a:t>
            </a:r>
          </a:p>
          <a:p>
            <a:r>
              <a:rPr lang="en-US" dirty="0"/>
              <a:t>Choose the target branch onto which you want to rebase the current branch</a:t>
            </a:r>
          </a:p>
          <a:p>
            <a:pPr lvl="1"/>
            <a:r>
              <a:rPr lang="en-US" dirty="0"/>
              <a:t>E.g. the </a:t>
            </a:r>
            <a:r>
              <a:rPr lang="en-US" b="1" dirty="0"/>
              <a:t>main</a:t>
            </a:r>
            <a:r>
              <a:rPr lang="en-US" dirty="0"/>
              <a:t> branch if it contains newer commits that you want to integrate in your feature branch</a:t>
            </a:r>
          </a:p>
          <a:p>
            <a:r>
              <a:rPr lang="en-US" dirty="0"/>
              <a:t>Click </a:t>
            </a:r>
            <a:r>
              <a:rPr lang="en-US" b="1" dirty="0"/>
              <a:t>Rebase</a:t>
            </a:r>
          </a:p>
          <a:p>
            <a:r>
              <a:rPr lang="en-US" dirty="0"/>
              <a:t>If the Rebase was straightforward, you now need to force-push (with lease)</a:t>
            </a:r>
          </a:p>
          <a:p>
            <a:r>
              <a:rPr lang="en-US" dirty="0"/>
              <a:t>If commits on both branches changed the same contents, you need to resolve the conflicts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FF7243-CDA0-3DC1-5882-7E4AF1D848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5AF3C9-94C9-C8D9-CCE2-E6D315972C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582B85-5294-9E44-BBFE-B79FB1CEC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09187C-31B1-3179-5D80-FCD64B037F8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A7E7939-777F-40D5-A533-3AEF06509BDF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69060-109A-22BC-B00C-4C9D5AF851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BC71E8-753A-82EE-B4CA-9834038805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0</a:t>
            </a:fld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B46BE3D-D044-CBC0-4441-DC9AD23E05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0619" y="623475"/>
            <a:ext cx="3421677" cy="269009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17B4CE1-ACDC-A312-C442-F0C4673B2F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4507" y="3508622"/>
            <a:ext cx="3708478" cy="1011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728312"/>
      </p:ext>
    </p:extLst>
  </p:cSld>
  <p:clrMapOvr>
    <a:masterClrMapping/>
  </p:clrMapOvr>
  <p:transition spd="slow" advClick="0"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933E-4067-E06F-0E70-C9E139CDF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olve </a:t>
            </a:r>
            <a:r>
              <a:rPr lang="de-DE" dirty="0" err="1"/>
              <a:t>Conflict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6962-1002-B8E9-84A8-1C853ADAA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4640508" cy="3539788"/>
          </a:xfrm>
        </p:spPr>
        <p:txBody>
          <a:bodyPr/>
          <a:lstStyle/>
          <a:p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to</a:t>
            </a:r>
            <a:endParaRPr lang="de-DE" dirty="0"/>
          </a:p>
          <a:p>
            <a:pPr lvl="1"/>
            <a:r>
              <a:rPr lang="de-DE" b="1" dirty="0" err="1"/>
              <a:t>Accept</a:t>
            </a:r>
            <a:r>
              <a:rPr lang="de-DE" b="1" dirty="0"/>
              <a:t> </a:t>
            </a:r>
            <a:r>
              <a:rPr lang="de-DE" b="1" dirty="0" err="1"/>
              <a:t>Yours</a:t>
            </a:r>
            <a:endParaRPr lang="de-DE" b="1" dirty="0"/>
          </a:p>
          <a:p>
            <a:pPr lvl="1"/>
            <a:r>
              <a:rPr lang="de-DE" b="1" dirty="0" err="1"/>
              <a:t>Accept</a:t>
            </a:r>
            <a:r>
              <a:rPr lang="de-DE" b="1" dirty="0"/>
              <a:t> </a:t>
            </a:r>
            <a:r>
              <a:rPr lang="de-DE" b="1" dirty="0" err="1"/>
              <a:t>Theirs</a:t>
            </a:r>
            <a:endParaRPr lang="de-DE" b="1" dirty="0"/>
          </a:p>
          <a:p>
            <a:pPr lvl="1"/>
            <a:r>
              <a:rPr lang="de-DE" b="1" dirty="0" err="1"/>
              <a:t>Merge</a:t>
            </a:r>
            <a:endParaRPr lang="de-DE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FF7243-CDA0-3DC1-5882-7E4AF1D848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5AF3C9-94C9-C8D9-CCE2-E6D315972C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582B85-5294-9E44-BBFE-B79FB1CEC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09187C-31B1-3179-5D80-FCD64B037F8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277688B-D660-432C-B1A9-A80B0A2360B0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69060-109A-22BC-B00C-4C9D5AF851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BC71E8-753A-82EE-B4CA-98340388056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1</a:t>
            </a:fld>
            <a:endParaRPr lang="de-DE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319E5E6-A536-8D05-67CB-992958C3D8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825" y="2350154"/>
            <a:ext cx="3032724" cy="198987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D2BB1A3-2122-AA12-2383-55A3EC7A40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9726" y="800240"/>
            <a:ext cx="5584761" cy="3251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565686"/>
      </p:ext>
    </p:extLst>
  </p:cSld>
  <p:clrMapOvr>
    <a:masterClrMapping/>
  </p:clrMapOvr>
  <p:transition spd="slow" advClick="0"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AD3D6C00-6D6B-DBD7-3FA3-A4C5EBFA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b #4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9CC4F145-4BBD-311A-665F-07CFD22642C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19442" y="984250"/>
            <a:ext cx="5276344" cy="3868738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sz="1300" b="1" dirty="0">
                <a:sym typeface="Source Sans Pro" panose="020B0503030403020204" pitchFamily="34" charset="0"/>
              </a:rPr>
              <a:t>Clone the Repository</a:t>
            </a:r>
          </a:p>
          <a:p>
            <a:pPr lvl="2"/>
            <a:r>
              <a:rPr lang="en-US" sz="1300" dirty="0">
                <a:sym typeface="Source Sans Pro" panose="020B0503030403020204" pitchFamily="34" charset="0"/>
              </a:rPr>
              <a:t>Clone the repo at: </a:t>
            </a:r>
            <a:r>
              <a:rPr lang="en-US" sz="1300" dirty="0">
                <a:sym typeface="Source Sans Pro" panose="020B0503030403020204" pitchFamily="34" charset="0"/>
                <a:hlinkClick r:id="rId2"/>
              </a:rPr>
              <a:t>https://WMC-Consulting@dev.azure.com/WMC-Consulting/Git%20Workshop/_git/git-workshop</a:t>
            </a:r>
            <a:r>
              <a:rPr lang="en-US" sz="1300" dirty="0">
                <a:sym typeface="Source Sans Pro" panose="020B0503030403020204" pitchFamily="34" charset="0"/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1" dirty="0">
                <a:sym typeface="Source Sans Pro" panose="020B0503030403020204" pitchFamily="34" charset="0"/>
              </a:rPr>
              <a:t>Explore the Repo</a:t>
            </a:r>
          </a:p>
          <a:p>
            <a:pPr lvl="2"/>
            <a:r>
              <a:rPr lang="en-US" sz="1300" dirty="0">
                <a:sym typeface="Source Sans Pro" panose="020B0503030403020204" pitchFamily="34" charset="0"/>
              </a:rPr>
              <a:t>View the Git history and current branches using PyCharm's Git tool window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1" dirty="0">
                <a:sym typeface="Source Sans Pro" panose="020B0503030403020204" pitchFamily="34" charset="0"/>
              </a:rPr>
              <a:t>Create a Feature Branch</a:t>
            </a:r>
          </a:p>
          <a:p>
            <a:pPr lvl="2"/>
            <a:r>
              <a:rPr lang="en-US" sz="1300" dirty="0">
                <a:sym typeface="Source Sans Pro" panose="020B0503030403020204" pitchFamily="34" charset="0"/>
              </a:rPr>
              <a:t>Create a new feature branch in PyCharm.</a:t>
            </a:r>
          </a:p>
          <a:p>
            <a:pPr lvl="2"/>
            <a:r>
              <a:rPr lang="en-US" sz="1300" dirty="0">
                <a:sym typeface="Source Sans Pro" panose="020B0503030403020204" pitchFamily="34" charset="0"/>
              </a:rPr>
              <a:t>Modify a file, then </a:t>
            </a:r>
            <a:r>
              <a:rPr lang="en-US" sz="1300" b="1" dirty="0">
                <a:sym typeface="Source Sans Pro" panose="020B0503030403020204" pitchFamily="34" charset="0"/>
              </a:rPr>
              <a:t>commit</a:t>
            </a:r>
            <a:r>
              <a:rPr lang="en-US" sz="1300" dirty="0">
                <a:sym typeface="Source Sans Pro" panose="020B0503030403020204" pitchFamily="34" charset="0"/>
              </a:rPr>
              <a:t> the changes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1" dirty="0">
                <a:sym typeface="Source Sans Pro" panose="020B0503030403020204" pitchFamily="34" charset="0"/>
              </a:rPr>
              <a:t>Switch Back to Main</a:t>
            </a:r>
          </a:p>
          <a:p>
            <a:pPr lvl="2"/>
            <a:r>
              <a:rPr lang="en-US" sz="1300" dirty="0">
                <a:sym typeface="Source Sans Pro" panose="020B0503030403020204" pitchFamily="34" charset="0"/>
              </a:rPr>
              <a:t>Checkout the </a:t>
            </a:r>
            <a:r>
              <a:rPr lang="en-US" sz="1300" dirty="0">
                <a:highlight>
                  <a:srgbClr val="CCEBD8"/>
                </a:highlight>
                <a:latin typeface="Consolas" panose="020B0609020204030204" pitchFamily="49" charset="0"/>
                <a:sym typeface="Source Sans Pro" panose="020B0503030403020204" pitchFamily="34" charset="0"/>
              </a:rPr>
              <a:t>main</a:t>
            </a:r>
            <a:r>
              <a:rPr lang="en-US" sz="1300" dirty="0">
                <a:sym typeface="Source Sans Pro" panose="020B0503030403020204" pitchFamily="34" charset="0"/>
              </a:rPr>
              <a:t> branch.</a:t>
            </a:r>
          </a:p>
          <a:p>
            <a:pPr lvl="2"/>
            <a:r>
              <a:rPr lang="en-US" sz="1300" dirty="0">
                <a:sym typeface="Source Sans Pro" panose="020B0503030403020204" pitchFamily="34" charset="0"/>
              </a:rPr>
              <a:t>Make another commit that modifies the same part of the fil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1" dirty="0">
                <a:sym typeface="Source Sans Pro" panose="020B0503030403020204" pitchFamily="34" charset="0"/>
              </a:rPr>
              <a:t>Rebase the Feature Branch</a:t>
            </a:r>
          </a:p>
          <a:p>
            <a:pPr lvl="2"/>
            <a:r>
              <a:rPr lang="en-US" sz="1300" dirty="0">
                <a:sym typeface="Source Sans Pro" panose="020B0503030403020204" pitchFamily="34" charset="0"/>
              </a:rPr>
              <a:t>Switch back to the feature branch.</a:t>
            </a:r>
          </a:p>
          <a:p>
            <a:pPr lvl="2"/>
            <a:r>
              <a:rPr lang="en-US" sz="1300" b="1" dirty="0">
                <a:sym typeface="Source Sans Pro" panose="020B0503030403020204" pitchFamily="34" charset="0"/>
              </a:rPr>
              <a:t>Rebase</a:t>
            </a:r>
            <a:r>
              <a:rPr lang="en-US" sz="1300" dirty="0">
                <a:sym typeface="Source Sans Pro" panose="020B0503030403020204" pitchFamily="34" charset="0"/>
              </a:rPr>
              <a:t> the feature branch onto </a:t>
            </a:r>
            <a:r>
              <a:rPr lang="en-US" sz="1300" dirty="0">
                <a:highlight>
                  <a:srgbClr val="CCEBD8"/>
                </a:highlight>
                <a:latin typeface="Consolas" panose="020B0609020204030204" pitchFamily="49" charset="0"/>
                <a:sym typeface="Source Sans Pro" panose="020B0503030403020204" pitchFamily="34" charset="0"/>
              </a:rPr>
              <a:t>main</a:t>
            </a:r>
            <a:r>
              <a:rPr lang="en-US" sz="1300" dirty="0">
                <a:sym typeface="Source Sans Pro" panose="020B0503030403020204" pitchFamily="34" charset="0"/>
              </a:rPr>
              <a:t>.</a:t>
            </a:r>
          </a:p>
          <a:p>
            <a:pPr lvl="2"/>
            <a:r>
              <a:rPr lang="en-US" sz="1300" dirty="0">
                <a:sym typeface="Source Sans Pro" panose="020B0503030403020204" pitchFamily="34" charset="0"/>
              </a:rPr>
              <a:t>Resolve the resulting conflict by choosing the </a:t>
            </a:r>
            <a:r>
              <a:rPr lang="en-US" sz="1300" b="1" dirty="0">
                <a:sym typeface="Source Sans Pro" panose="020B0503030403020204" pitchFamily="34" charset="0"/>
              </a:rPr>
              <a:t>Merge</a:t>
            </a:r>
            <a:r>
              <a:rPr lang="en-US" sz="1300" dirty="0">
                <a:sym typeface="Source Sans Pro" panose="020B0503030403020204" pitchFamily="34" charset="0"/>
              </a:rPr>
              <a:t> option in PyCharm.</a:t>
            </a:r>
            <a:endParaRPr lang="de-DE" sz="1300" dirty="0">
              <a:sym typeface="Source Sans Pro" panose="020B0503030403020204" pitchFamily="34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0930DF2-410C-F8A5-C371-8762B1F7DA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Integration in </a:t>
            </a:r>
            <a:r>
              <a:rPr lang="de-DE" dirty="0" err="1"/>
              <a:t>PyCharm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136B862-B171-9F00-E5F3-D6407E80F5A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7EED434-8FB5-4CA8-9A73-4C793E09A8F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FDD664-5A87-8964-E7AF-C8918D078C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964E07-2F20-FA8C-1995-5AA8C86ED6F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7659520"/>
      </p:ext>
    </p:extLst>
  </p:cSld>
  <p:clrMapOvr>
    <a:masterClrMapping/>
  </p:clrMapOvr>
  <p:transition spd="slow" advClick="0"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EE817F-506E-1BF6-FAD7-446D83966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1AC2EB-CE47-6B7A-8FC6-A8C0CBE92E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F7D8F3-2A32-4F4D-B353-273A05A4A42F}" type="datetime1">
              <a:rPr lang="de-DE" smtClean="0"/>
              <a:t>10.10.2024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693A8C-6AF0-3D86-CB8D-BAAACCDDF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B663AE-86D3-E82E-424F-8417B7948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4208126"/>
      </p:ext>
    </p:extLst>
  </p:cSld>
  <p:clrMapOvr>
    <a:masterClrMapping/>
  </p:clrMapOvr>
  <p:transition spd="slow" advClick="0"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zure </a:t>
            </a:r>
            <a:r>
              <a:rPr lang="de-DE" dirty="0" err="1"/>
              <a:t>DevOps</a:t>
            </a:r>
            <a:r>
              <a:rPr lang="de-DE" dirty="0"/>
              <a:t>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712B09-0C43-2EF5-14EC-A2FCDF1A52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18D49A-2CD6-1EB1-2584-3651D779D0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CF6BE3-927E-7DA6-145F-29E07A48A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5803955" cy="353978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uite of development tools and services to support the entire software development lifecycle:</a:t>
            </a:r>
          </a:p>
          <a:p>
            <a:r>
              <a:rPr lang="en-US" b="1" dirty="0">
                <a:solidFill>
                  <a:schemeClr val="bg2"/>
                </a:solidFill>
              </a:rPr>
              <a:t>Version Control</a:t>
            </a:r>
            <a:r>
              <a:rPr lang="en-US" dirty="0">
                <a:solidFill>
                  <a:schemeClr val="bg2"/>
                </a:solidFill>
              </a:rPr>
              <a:t>: Manage code with Git repositories.</a:t>
            </a:r>
          </a:p>
          <a:p>
            <a:r>
              <a:rPr lang="en-US" b="1" dirty="0">
                <a:solidFill>
                  <a:schemeClr val="bg2"/>
                </a:solidFill>
              </a:rPr>
              <a:t>Collaborative Workflows</a:t>
            </a:r>
            <a:r>
              <a:rPr lang="en-US" dirty="0">
                <a:solidFill>
                  <a:schemeClr val="bg2"/>
                </a:solidFill>
              </a:rPr>
              <a:t>: Enable seamless collaboration with pull requests and code reviews.</a:t>
            </a:r>
          </a:p>
          <a:p>
            <a:r>
              <a:rPr lang="en-US" b="1" dirty="0">
                <a:solidFill>
                  <a:schemeClr val="accent4"/>
                </a:solidFill>
              </a:rPr>
              <a:t>Work Item Tracking</a:t>
            </a:r>
            <a:r>
              <a:rPr lang="en-US" dirty="0">
                <a:solidFill>
                  <a:schemeClr val="accent4"/>
                </a:solidFill>
              </a:rPr>
              <a:t>: Organize and manage work across teams.</a:t>
            </a:r>
            <a:endParaRPr lang="en-US" dirty="0">
              <a:solidFill>
                <a:schemeClr val="bg2"/>
              </a:solidFill>
            </a:endParaRPr>
          </a:p>
          <a:p>
            <a:r>
              <a:rPr lang="en-US" b="1" dirty="0">
                <a:solidFill>
                  <a:schemeClr val="accent4"/>
                </a:solidFill>
              </a:rPr>
              <a:t>CI/CD Pipelines</a:t>
            </a:r>
            <a:r>
              <a:rPr lang="en-US" dirty="0">
                <a:solidFill>
                  <a:schemeClr val="accent4"/>
                </a:solidFill>
              </a:rPr>
              <a:t>: Automate builds, tests, and deployments.</a:t>
            </a:r>
          </a:p>
          <a:p>
            <a:r>
              <a:rPr lang="en-US" b="1" dirty="0">
                <a:solidFill>
                  <a:schemeClr val="accent3"/>
                </a:solidFill>
              </a:rPr>
              <a:t>Test Plans</a:t>
            </a:r>
            <a:r>
              <a:rPr lang="en-US" dirty="0">
                <a:solidFill>
                  <a:schemeClr val="accent3"/>
                </a:solidFill>
              </a:rPr>
              <a:t>: Define, manage, and automate test cases for quality assurance.</a:t>
            </a:r>
          </a:p>
          <a:p>
            <a:r>
              <a:rPr lang="en-US" b="1" dirty="0">
                <a:solidFill>
                  <a:schemeClr val="accent3"/>
                </a:solidFill>
              </a:rPr>
              <a:t>Artifacts</a:t>
            </a:r>
            <a:r>
              <a:rPr lang="en-US" dirty="0">
                <a:solidFill>
                  <a:schemeClr val="accent3"/>
                </a:solidFill>
              </a:rPr>
              <a:t>: Package, store, and manage project dependencie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4</a:t>
            </a:fld>
            <a:endParaRPr lang="de-DE" dirty="0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2586A756-4747-949C-2F44-7D500AEEC4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4576" y="1851836"/>
            <a:ext cx="2303725" cy="143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432744"/>
      </p:ext>
    </p:extLst>
  </p:cSld>
  <p:clrMapOvr>
    <a:masterClrMapping/>
  </p:clrMapOvr>
  <p:transition spd="slow" advClick="0"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A6AF7D-88E8-EEF9-8C02-C9203482E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ser Interface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C55A5B-5BB5-E3B0-C632-FCB2F822E5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97B018-49A5-B6E7-3FF2-9BD3E79E0E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249E314-4037-577B-89AC-B7AEEC9F6C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7B56BBC-E325-BB06-DC43-03A93CEE328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FA6DFD-292D-36CD-B98E-F9C8E9F7E9D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79AA6B-4D14-7A50-7E94-D24864703B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5</a:t>
            </a:fld>
            <a:endParaRPr lang="de-DE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58A3985-43AE-C232-6037-8F36EB6ABF73}"/>
              </a:ext>
            </a:extLst>
          </p:cNvPr>
          <p:cNvGrpSpPr/>
          <p:nvPr/>
        </p:nvGrpSpPr>
        <p:grpSpPr>
          <a:xfrm>
            <a:off x="324000" y="743026"/>
            <a:ext cx="8081865" cy="3905063"/>
            <a:chOff x="324000" y="743026"/>
            <a:chExt cx="8081865" cy="3905063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9308C4E-90B3-F372-8505-7F0411997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84484" y="1277017"/>
              <a:ext cx="7521381" cy="3161080"/>
            </a:xfrm>
            <a:prstGeom prst="rect">
              <a:avLst/>
            </a:prstGeom>
          </p:spPr>
        </p:pic>
        <p:sp>
          <p:nvSpPr>
            <p:cNvPr id="13" name="Callout: Line 12">
              <a:extLst>
                <a:ext uri="{FF2B5EF4-FFF2-40B4-BE49-F238E27FC236}">
                  <a16:creationId xmlns:a16="http://schemas.microsoft.com/office/drawing/2014/main" id="{161F6944-94A4-1CDB-F33C-99ED25A745C8}"/>
                </a:ext>
              </a:extLst>
            </p:cNvPr>
            <p:cNvSpPr/>
            <p:nvPr/>
          </p:nvSpPr>
          <p:spPr>
            <a:xfrm>
              <a:off x="324000" y="946066"/>
              <a:ext cx="1174531" cy="267584"/>
            </a:xfrm>
            <a:prstGeom prst="borderCallout1">
              <a:avLst>
                <a:gd name="adj1" fmla="val 74723"/>
                <a:gd name="adj2" fmla="val 99720"/>
                <a:gd name="adj3" fmla="val 144905"/>
                <a:gd name="adj4" fmla="val 135493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ln w="0"/>
                  <a:solidFill>
                    <a:schemeClr val="bg1"/>
                  </a:solidFill>
                </a:rPr>
                <a:t>Organization</a:t>
              </a:r>
              <a:endParaRPr lang="de-DE" sz="1400" dirty="0">
                <a:ln w="0"/>
                <a:solidFill>
                  <a:schemeClr val="bg1"/>
                </a:solidFill>
              </a:endParaRPr>
            </a:p>
          </p:txBody>
        </p:sp>
        <p:sp>
          <p:nvSpPr>
            <p:cNvPr id="14" name="Callout: Line 13">
              <a:extLst>
                <a:ext uri="{FF2B5EF4-FFF2-40B4-BE49-F238E27FC236}">
                  <a16:creationId xmlns:a16="http://schemas.microsoft.com/office/drawing/2014/main" id="{8B47C4A5-5FE8-9AD2-340C-3379C9E41422}"/>
                </a:ext>
              </a:extLst>
            </p:cNvPr>
            <p:cNvSpPr/>
            <p:nvPr/>
          </p:nvSpPr>
          <p:spPr>
            <a:xfrm>
              <a:off x="2521175" y="876818"/>
              <a:ext cx="744517" cy="267584"/>
            </a:xfrm>
            <a:prstGeom prst="borderCallout1">
              <a:avLst>
                <a:gd name="adj1" fmla="val 101236"/>
                <a:gd name="adj2" fmla="val 35962"/>
                <a:gd name="adj3" fmla="val 168472"/>
                <a:gd name="adj4" fmla="val 22741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Project</a:t>
              </a:r>
            </a:p>
          </p:txBody>
        </p:sp>
        <p:sp>
          <p:nvSpPr>
            <p:cNvPr id="15" name="Callout: Line 14">
              <a:extLst>
                <a:ext uri="{FF2B5EF4-FFF2-40B4-BE49-F238E27FC236}">
                  <a16:creationId xmlns:a16="http://schemas.microsoft.com/office/drawing/2014/main" id="{3E26290E-9D43-5B9D-8D93-E28F2198E7C9}"/>
                </a:ext>
              </a:extLst>
            </p:cNvPr>
            <p:cNvSpPr/>
            <p:nvPr/>
          </p:nvSpPr>
          <p:spPr>
            <a:xfrm>
              <a:off x="2046238" y="3259993"/>
              <a:ext cx="1694390" cy="267584"/>
            </a:xfrm>
            <a:prstGeom prst="borderCallout1">
              <a:avLst>
                <a:gd name="adj1" fmla="val 54102"/>
                <a:gd name="adj2" fmla="val 376"/>
                <a:gd name="adj3" fmla="val -31851"/>
                <a:gd name="adj4" fmla="val -38271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Project </a:t>
              </a:r>
              <a:r>
                <a:rPr lang="de-DE" sz="1400" dirty="0" err="1">
                  <a:ln w="0"/>
                  <a:solidFill>
                    <a:schemeClr val="bg1"/>
                  </a:solidFill>
                </a:rPr>
                <a:t>Repositories</a:t>
              </a:r>
              <a:endParaRPr lang="de-DE" sz="1400" dirty="0">
                <a:ln w="0"/>
                <a:solidFill>
                  <a:schemeClr val="bg1"/>
                </a:solidFill>
              </a:endParaRPr>
            </a:p>
          </p:txBody>
        </p:sp>
        <p:sp>
          <p:nvSpPr>
            <p:cNvPr id="16" name="Callout: Line 15">
              <a:extLst>
                <a:ext uri="{FF2B5EF4-FFF2-40B4-BE49-F238E27FC236}">
                  <a16:creationId xmlns:a16="http://schemas.microsoft.com/office/drawing/2014/main" id="{8724FD5E-1763-CC1F-C2A3-4E4FEF18444E}"/>
                </a:ext>
              </a:extLst>
            </p:cNvPr>
            <p:cNvSpPr/>
            <p:nvPr/>
          </p:nvSpPr>
          <p:spPr>
            <a:xfrm>
              <a:off x="6840894" y="743026"/>
              <a:ext cx="1174531" cy="267584"/>
            </a:xfrm>
            <a:prstGeom prst="borderCallout1">
              <a:avLst>
                <a:gd name="adj1" fmla="val 101235"/>
                <a:gd name="adj2" fmla="val 79586"/>
                <a:gd name="adj3" fmla="val 212660"/>
                <a:gd name="adj4" fmla="val 95896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User Settings</a:t>
              </a:r>
            </a:p>
          </p:txBody>
        </p:sp>
        <p:sp>
          <p:nvSpPr>
            <p:cNvPr id="17" name="Callout: Line 16">
              <a:extLst>
                <a:ext uri="{FF2B5EF4-FFF2-40B4-BE49-F238E27FC236}">
                  <a16:creationId xmlns:a16="http://schemas.microsoft.com/office/drawing/2014/main" id="{BBC477D5-D60D-4F2F-DBBE-2268AB036556}"/>
                </a:ext>
              </a:extLst>
            </p:cNvPr>
            <p:cNvSpPr/>
            <p:nvPr/>
          </p:nvSpPr>
          <p:spPr>
            <a:xfrm>
              <a:off x="4645176" y="3394046"/>
              <a:ext cx="1473132" cy="267584"/>
            </a:xfrm>
            <a:prstGeom prst="borderCallout1">
              <a:avLst>
                <a:gd name="adj1" fmla="val 74722"/>
                <a:gd name="adj2" fmla="val 99720"/>
                <a:gd name="adj3" fmla="val 156688"/>
                <a:gd name="adj4" fmla="val 123830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Project Members</a:t>
              </a:r>
            </a:p>
          </p:txBody>
        </p:sp>
        <p:sp>
          <p:nvSpPr>
            <p:cNvPr id="18" name="Callout: Line 17">
              <a:extLst>
                <a:ext uri="{FF2B5EF4-FFF2-40B4-BE49-F238E27FC236}">
                  <a16:creationId xmlns:a16="http://schemas.microsoft.com/office/drawing/2014/main" id="{CE427832-4D41-A6A1-AA71-B4B7380C0332}"/>
                </a:ext>
              </a:extLst>
            </p:cNvPr>
            <p:cNvSpPr/>
            <p:nvPr/>
          </p:nvSpPr>
          <p:spPr>
            <a:xfrm>
              <a:off x="2214150" y="2869461"/>
              <a:ext cx="1051542" cy="267584"/>
            </a:xfrm>
            <a:prstGeom prst="borderCallout1">
              <a:avLst>
                <a:gd name="adj1" fmla="val 54102"/>
                <a:gd name="adj2" fmla="val 376"/>
                <a:gd name="adj3" fmla="val 15284"/>
                <a:gd name="adj4" fmla="val -76530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Work Items</a:t>
              </a:r>
            </a:p>
          </p:txBody>
        </p:sp>
        <p:sp>
          <p:nvSpPr>
            <p:cNvPr id="19" name="Callout: Line 18">
              <a:extLst>
                <a:ext uri="{FF2B5EF4-FFF2-40B4-BE49-F238E27FC236}">
                  <a16:creationId xmlns:a16="http://schemas.microsoft.com/office/drawing/2014/main" id="{0EE6F30C-ECA9-4303-D9DA-BC9D7CCC6B66}"/>
                </a:ext>
              </a:extLst>
            </p:cNvPr>
            <p:cNvSpPr/>
            <p:nvPr/>
          </p:nvSpPr>
          <p:spPr>
            <a:xfrm>
              <a:off x="2144646" y="3679977"/>
              <a:ext cx="1373295" cy="267584"/>
            </a:xfrm>
            <a:prstGeom prst="borderCallout1">
              <a:avLst>
                <a:gd name="adj1" fmla="val 54102"/>
                <a:gd name="adj2" fmla="val 376"/>
                <a:gd name="adj3" fmla="val -90769"/>
                <a:gd name="adj4" fmla="val -49177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CI/CD Pipelines</a:t>
              </a:r>
            </a:p>
          </p:txBody>
        </p:sp>
        <p:sp>
          <p:nvSpPr>
            <p:cNvPr id="20" name="Callout: Line 19">
              <a:extLst>
                <a:ext uri="{FF2B5EF4-FFF2-40B4-BE49-F238E27FC236}">
                  <a16:creationId xmlns:a16="http://schemas.microsoft.com/office/drawing/2014/main" id="{F948840E-608D-4B68-5B8D-60CD72A31B0A}"/>
                </a:ext>
              </a:extLst>
            </p:cNvPr>
            <p:cNvSpPr/>
            <p:nvPr/>
          </p:nvSpPr>
          <p:spPr>
            <a:xfrm>
              <a:off x="2521175" y="4380505"/>
              <a:ext cx="1373295" cy="267584"/>
            </a:xfrm>
            <a:prstGeom prst="borderCallout1">
              <a:avLst>
                <a:gd name="adj1" fmla="val 51155"/>
                <a:gd name="adj2" fmla="val 392"/>
                <a:gd name="adj3" fmla="val -11229"/>
                <a:gd name="adj4" fmla="val -61160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Project Sett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238397"/>
      </p:ext>
    </p:extLst>
  </p:cSld>
  <p:clrMapOvr>
    <a:masterClrMapping/>
  </p:clrMapOvr>
  <p:transition spd="slow" advClick="0"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19F40-3E17-4E4D-8B3D-63C51D4C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positories</a:t>
            </a:r>
            <a:r>
              <a:rPr lang="de-DE" dirty="0"/>
              <a:t> &amp; </a:t>
            </a:r>
            <a:r>
              <a:rPr lang="de-DE" dirty="0" err="1"/>
              <a:t>Collaboration</a:t>
            </a:r>
            <a:endParaRPr lang="de-DE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0C9F5CB-88C0-8546-6B4F-CB7D70F13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7DA7F44-0611-5848-8123-E0481A19E0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132A655-646B-59EF-96B9-133A066C5B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21532"/>
            <a:ext cx="3367794" cy="3778706"/>
          </a:xfrm>
        </p:spPr>
        <p:txBody>
          <a:bodyPr/>
          <a:lstStyle/>
          <a:p>
            <a:r>
              <a:rPr lang="en-US" sz="1500" b="1" dirty="0"/>
              <a:t>Files, Commits, Pushes, Branches, Tags</a:t>
            </a:r>
            <a:r>
              <a:rPr lang="en-US" sz="1500" dirty="0"/>
              <a:t>: Navigate repository content and track changes.</a:t>
            </a:r>
          </a:p>
          <a:p>
            <a:r>
              <a:rPr lang="en-US" sz="1500" b="1" dirty="0"/>
              <a:t>Pull Requests</a:t>
            </a:r>
            <a:r>
              <a:rPr lang="en-US" sz="1500" dirty="0"/>
              <a:t>: Review code changes before merging.</a:t>
            </a:r>
          </a:p>
          <a:p>
            <a:r>
              <a:rPr lang="en-US" sz="1500" b="1" dirty="0"/>
              <a:t>Description Section</a:t>
            </a:r>
            <a:r>
              <a:rPr lang="en-US" sz="1500" dirty="0"/>
              <a:t>: Summarize changes for context.</a:t>
            </a:r>
          </a:p>
          <a:p>
            <a:r>
              <a:rPr lang="en-US" sz="1500" b="1" dirty="0"/>
              <a:t>Activity Log</a:t>
            </a:r>
            <a:r>
              <a:rPr lang="en-US" sz="1500" dirty="0"/>
              <a:t>: Track commits, comments, and actions.</a:t>
            </a:r>
          </a:p>
          <a:p>
            <a:r>
              <a:rPr lang="en-US" sz="1500" b="1" dirty="0"/>
              <a:t>Reviewers</a:t>
            </a:r>
            <a:r>
              <a:rPr lang="en-US" sz="1500" dirty="0"/>
              <a:t>: Assign mandatory and optional reviewers.</a:t>
            </a:r>
          </a:p>
          <a:p>
            <a:r>
              <a:rPr lang="en-US" sz="1500" b="1" dirty="0"/>
              <a:t>Approve &amp; Auto-Complete</a:t>
            </a:r>
            <a:r>
              <a:rPr lang="en-US" sz="1500" dirty="0"/>
              <a:t>: Reviewers can approve, reject and set auto-complete options.</a:t>
            </a:r>
            <a:endParaRPr lang="de-DE" sz="15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870044-827F-7EFD-C046-37DE7B1A59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15AD42-E08B-B19B-0B27-C0B968D7633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E911ED-837F-205B-6901-10A80281C02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A78B99-B147-E923-2399-58D3783206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6</a:t>
            </a:fld>
            <a:endParaRPr lang="de-DE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F7FEBEB-3EA0-2D14-25B6-9B2663CE6CA5}"/>
              </a:ext>
            </a:extLst>
          </p:cNvPr>
          <p:cNvGrpSpPr/>
          <p:nvPr/>
        </p:nvGrpSpPr>
        <p:grpSpPr>
          <a:xfrm>
            <a:off x="3817619" y="583272"/>
            <a:ext cx="5200208" cy="4230364"/>
            <a:chOff x="3817619" y="583272"/>
            <a:chExt cx="5200208" cy="4230364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0ED322B3-0434-787C-E2AB-73FB90597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7620" y="583272"/>
              <a:ext cx="5200207" cy="4230364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9938A64-27AF-08F3-E121-C30EC8AC4766}"/>
                </a:ext>
              </a:extLst>
            </p:cNvPr>
            <p:cNvSpPr/>
            <p:nvPr/>
          </p:nvSpPr>
          <p:spPr>
            <a:xfrm>
              <a:off x="7448910" y="1405988"/>
              <a:ext cx="1443090" cy="1011340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F8C29E-EDEE-8BBB-E945-071F0FD21E97}"/>
                </a:ext>
              </a:extLst>
            </p:cNvPr>
            <p:cNvSpPr/>
            <p:nvPr/>
          </p:nvSpPr>
          <p:spPr>
            <a:xfrm>
              <a:off x="4955982" y="2953590"/>
              <a:ext cx="2460818" cy="1732709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640A59-4A29-E524-8745-7308530D4C0E}"/>
                </a:ext>
              </a:extLst>
            </p:cNvPr>
            <p:cNvSpPr/>
            <p:nvPr/>
          </p:nvSpPr>
          <p:spPr>
            <a:xfrm>
              <a:off x="3817619" y="1384878"/>
              <a:ext cx="1056799" cy="1367848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0E3DE30-CC5E-36D3-48D4-D6499C844CD8}"/>
                </a:ext>
              </a:extLst>
            </p:cNvPr>
            <p:cNvSpPr/>
            <p:nvPr/>
          </p:nvSpPr>
          <p:spPr>
            <a:xfrm>
              <a:off x="4955982" y="2015414"/>
              <a:ext cx="2460818" cy="648000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6454EB8-A494-9E39-014D-90FBAAF2368F}"/>
                </a:ext>
              </a:extLst>
            </p:cNvPr>
            <p:cNvSpPr/>
            <p:nvPr/>
          </p:nvSpPr>
          <p:spPr>
            <a:xfrm>
              <a:off x="7255669" y="821532"/>
              <a:ext cx="1708818" cy="216694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30" name="Picture 29" descr="A red square with white lines&#10;&#10;Description automatically generated">
            <a:extLst>
              <a:ext uri="{FF2B5EF4-FFF2-40B4-BE49-F238E27FC236}">
                <a16:creationId xmlns:a16="http://schemas.microsoft.com/office/drawing/2014/main" id="{A25C27A6-4394-EEB7-77BD-9711992817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7665" y="196487"/>
            <a:ext cx="450720" cy="45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228550"/>
      </p:ext>
    </p:extLst>
  </p:cSld>
  <p:clrMapOvr>
    <a:masterClrMapping/>
  </p:clrMapOvr>
  <p:transition spd="slow" advClick="0"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19F40-3E17-4E4D-8B3D-63C51D4C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ll Request Review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0C9F5CB-88C0-8546-6B4F-CB7D70F13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132A655-646B-59EF-96B9-133A066C5B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21532"/>
            <a:ext cx="3173581" cy="3778706"/>
          </a:xfrm>
        </p:spPr>
        <p:txBody>
          <a:bodyPr/>
          <a:lstStyle/>
          <a:p>
            <a:r>
              <a:rPr lang="en-US" sz="1500" b="1" dirty="0"/>
              <a:t>Overview of Changes</a:t>
            </a:r>
            <a:r>
              <a:rPr lang="en-US" sz="1500" dirty="0"/>
              <a:t>: Review all modifications made in the PR, including added or altered files.</a:t>
            </a:r>
          </a:p>
          <a:p>
            <a:r>
              <a:rPr lang="en-US" sz="1500" b="1" dirty="0"/>
              <a:t>Commenting</a:t>
            </a:r>
            <a:r>
              <a:rPr lang="en-US" sz="1500" dirty="0"/>
              <a:t>: Leave feedback directly on specific lines to suggest improvements.</a:t>
            </a:r>
          </a:p>
          <a:p>
            <a:r>
              <a:rPr lang="en-US" sz="1500" b="1" dirty="0"/>
              <a:t>Suggestions</a:t>
            </a:r>
            <a:r>
              <a:rPr lang="en-US" sz="1500" dirty="0"/>
              <a:t>: Propose changes that can be incorporated by the author for clarity and enhancement.</a:t>
            </a:r>
          </a:p>
          <a:p>
            <a:pPr marL="0" indent="0">
              <a:buNone/>
            </a:pPr>
            <a:endParaRPr lang="en-US" sz="15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870044-827F-7EFD-C046-37DE7B1A59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15AD42-E08B-B19B-0B27-C0B968D7633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E911ED-837F-205B-6901-10A80281C02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A78B99-B147-E923-2399-58D3783206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7</a:t>
            </a:fld>
            <a:endParaRPr lang="de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E8F029-8412-3EF7-2B1A-B8B4690C63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1792" y="641532"/>
            <a:ext cx="5325831" cy="349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207288"/>
      </p:ext>
    </p:extLst>
  </p:cSld>
  <p:clrMapOvr>
    <a:masterClrMapping/>
  </p:clrMapOvr>
  <p:transition spd="slow" advClick="0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19F40-3E17-4E4D-8B3D-63C51D4C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de Review Best Practic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0881134-603E-2776-77BB-CF86383AF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C82C37-9413-9E23-B327-1F6F91342F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724CC48B-82AB-A868-45B0-3A58FBCD59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Respect People’s Time</a:t>
            </a:r>
            <a:br>
              <a:rPr lang="en-US" b="1" dirty="0"/>
            </a:br>
            <a:r>
              <a:rPr lang="en-US" dirty="0"/>
              <a:t>Review PRs promptly, ideally within two hours, to minimize context-switching and wasted effort.</a:t>
            </a:r>
          </a:p>
          <a:p>
            <a:r>
              <a:rPr lang="en-US" b="1" dirty="0"/>
              <a:t>Always Provide Constructive Feedback</a:t>
            </a:r>
            <a:br>
              <a:rPr lang="en-US" b="1" dirty="0"/>
            </a:br>
            <a:r>
              <a:rPr lang="en-US" dirty="0"/>
              <a:t>❌ Commenting "This is wrong" without offering any alternatives.</a:t>
            </a:r>
            <a:br>
              <a:rPr lang="en-US" dirty="0"/>
            </a:br>
            <a:r>
              <a:rPr lang="en-US" dirty="0"/>
              <a:t>✅ Saying "You could improve this by..." to guide the developer positively.</a:t>
            </a:r>
          </a:p>
          <a:p>
            <a:r>
              <a:rPr lang="en-US" b="1" dirty="0"/>
              <a:t>Keep Your Ego Out of Code Reviews</a:t>
            </a:r>
            <a:br>
              <a:rPr lang="en-US" b="1" dirty="0"/>
            </a:br>
            <a:r>
              <a:rPr lang="en-US" dirty="0"/>
              <a:t>❌ Dismissing a junior developer’s suggestion simply because of their experience level.</a:t>
            </a:r>
            <a:br>
              <a:rPr lang="en-US" dirty="0"/>
            </a:br>
            <a:r>
              <a:rPr lang="en-US" dirty="0"/>
              <a:t>✅ Supporting your opinion with links to documentation and inviting discussion on differing views.</a:t>
            </a:r>
          </a:p>
          <a:p>
            <a:endParaRPr lang="en-US" dirty="0"/>
          </a:p>
          <a:p>
            <a:endParaRPr lang="de-DE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62FF5C9B-2A8F-36F0-3010-9965AEACEF52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b="1" dirty="0"/>
              <a:t>Be Precise About What Needs to Be Improved</a:t>
            </a:r>
            <a:br>
              <a:rPr lang="en-US" dirty="0"/>
            </a:br>
            <a:r>
              <a:rPr lang="en-US" dirty="0"/>
              <a:t>❌ Commenting vaguely, "Fix this part," without clarity on which function is being referenced.</a:t>
            </a:r>
            <a:br>
              <a:rPr lang="en-US" dirty="0"/>
            </a:br>
            <a:r>
              <a:rPr lang="en-US" dirty="0"/>
              <a:t>✅ Stating, "Line 45 needs a clearer variable name; consider renaming </a:t>
            </a:r>
            <a:r>
              <a:rPr lang="en-US" sz="1000" dirty="0">
                <a:latin typeface="Consolas" panose="020B0609020204030204" pitchFamily="49" charset="0"/>
              </a:rPr>
              <a:t>foo</a:t>
            </a:r>
            <a:r>
              <a:rPr lang="en-US" dirty="0"/>
              <a:t> to </a:t>
            </a:r>
            <a:r>
              <a:rPr lang="en-US" sz="1000" dirty="0" err="1">
                <a:latin typeface="Consolas" panose="020B0609020204030204" pitchFamily="49" charset="0"/>
              </a:rPr>
              <a:t>userCount</a:t>
            </a:r>
            <a:r>
              <a:rPr lang="en-US" dirty="0"/>
              <a:t>.“</a:t>
            </a:r>
          </a:p>
          <a:p>
            <a:r>
              <a:rPr lang="en-US" b="1" dirty="0"/>
              <a:t>Reinforce Code Submission Best Practices</a:t>
            </a:r>
            <a:br>
              <a:rPr lang="en-US" b="1" dirty="0"/>
            </a:br>
            <a:r>
              <a:rPr lang="en-US" dirty="0"/>
              <a:t>Encourage practices like automated testing and using PR templates to streamline the process.</a:t>
            </a:r>
          </a:p>
          <a:p>
            <a:r>
              <a:rPr lang="en-US" b="1" dirty="0"/>
              <a:t>Check the Project’s Satellite Files</a:t>
            </a:r>
            <a:br>
              <a:rPr lang="en-US" b="1" dirty="0"/>
            </a:br>
            <a:r>
              <a:rPr lang="en-US" dirty="0"/>
              <a:t>Review documentation, tests, and configuration files to ensure they align with code change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870044-827F-7EFD-C046-37DE7B1A59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15AD42-E08B-B19B-0B27-C0B968D7633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E911ED-837F-205B-6901-10A80281C02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A78B99-B147-E923-2399-58D3783206A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6891113"/>
      </p:ext>
    </p:extLst>
  </p:cSld>
  <p:clrMapOvr>
    <a:masterClrMapping/>
  </p:clrMapOvr>
  <p:transition spd="slow" advClick="0"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19F40-3E17-4E4D-8B3D-63C51D4C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de Review Best Practi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088E36-545B-4182-93C8-47EF75476B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435226F-9848-A2C1-AF99-58FC7DB1BC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724CC48B-82AB-A868-45B0-3A58FBCD59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Visualize the Bigger Picture</a:t>
            </a:r>
            <a:br>
              <a:rPr lang="en-US" b="1" dirty="0"/>
            </a:br>
            <a:r>
              <a:rPr lang="en-US" dirty="0"/>
              <a:t>Consider how the changes fit into the overall architecture and future maintainability of the project.</a:t>
            </a:r>
          </a:p>
          <a:p>
            <a:r>
              <a:rPr lang="en-US" b="1" dirty="0"/>
              <a:t>Keep Pull Requests Small</a:t>
            </a:r>
            <a:br>
              <a:rPr lang="en-US" b="1" dirty="0"/>
            </a:br>
            <a:r>
              <a:rPr lang="en-US" dirty="0"/>
              <a:t>Smaller PRs are easier to review and less likely to introduce large bugs.</a:t>
            </a:r>
            <a:endParaRPr lang="en-US" b="1" dirty="0"/>
          </a:p>
          <a:p>
            <a:r>
              <a:rPr lang="en-US" b="1" dirty="0"/>
              <a:t>Make Code Review a Priority</a:t>
            </a:r>
            <a:br>
              <a:rPr lang="de-DE" b="1" dirty="0"/>
            </a:br>
            <a:r>
              <a:rPr lang="en-US" dirty="0"/>
              <a:t>Treat code reviews as an essential step in the development process for improving code quality.</a:t>
            </a:r>
          </a:p>
          <a:p>
            <a:r>
              <a:rPr lang="en-US" b="1" dirty="0"/>
              <a:t>Plan for Code Review Time</a:t>
            </a:r>
            <a:br>
              <a:rPr lang="en-US" b="1" dirty="0"/>
            </a:br>
            <a:r>
              <a:rPr lang="en-US" dirty="0"/>
              <a:t>Ensure that time for code reviews is included in your sprint or project planning to avoid delays.</a:t>
            </a:r>
            <a:endParaRPr lang="en-US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870044-827F-7EFD-C046-37DE7B1A59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15AD42-E08B-B19B-0B27-C0B968D7633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10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E911ED-837F-205B-6901-10A80281C02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A78B99-B147-E923-2399-58D3783206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8968979"/>
      </p:ext>
    </p:extLst>
  </p:cSld>
  <p:clrMapOvr>
    <a:masterClrMapping/>
  </p:clrMapOvr>
  <p:transition spd="slow" advClick="0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508F7-95C4-2008-5805-64C9F056D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ressing Version Control Challenges with Git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447-547F-BBB8-5C23-CE0A146952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7332164" cy="353978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 2005, </a:t>
            </a:r>
            <a:r>
              <a:rPr lang="en-US" b="1" dirty="0"/>
              <a:t>Linus Torvalds</a:t>
            </a:r>
            <a:r>
              <a:rPr lang="en-US" dirty="0"/>
              <a:t> developed Git to improve version control for the Linux Kernel.</a:t>
            </a:r>
          </a:p>
          <a:p>
            <a:pPr marL="0" indent="0">
              <a:buNone/>
            </a:pPr>
            <a:r>
              <a:rPr lang="en-US" dirty="0"/>
              <a:t>Key Innovations:</a:t>
            </a:r>
          </a:p>
          <a:p>
            <a:r>
              <a:rPr lang="de-DE" b="1" dirty="0"/>
              <a:t>Distributed Version Control</a:t>
            </a:r>
            <a:br>
              <a:rPr lang="de-DE" dirty="0"/>
            </a:br>
            <a:r>
              <a:rPr lang="en-US" dirty="0"/>
              <a:t>Every developer has a complete local copy of the repository.</a:t>
            </a:r>
          </a:p>
          <a:p>
            <a:r>
              <a:rPr lang="de-DE" b="1" dirty="0" err="1"/>
              <a:t>Efficient</a:t>
            </a:r>
            <a:r>
              <a:rPr lang="de-DE" b="1" dirty="0"/>
              <a:t> </a:t>
            </a:r>
            <a:r>
              <a:rPr lang="de-DE" b="1" dirty="0" err="1"/>
              <a:t>Branching</a:t>
            </a:r>
            <a:r>
              <a:rPr lang="de-DE" b="1" dirty="0"/>
              <a:t> and </a:t>
            </a:r>
            <a:r>
              <a:rPr lang="de-DE" b="1" dirty="0" err="1"/>
              <a:t>Merging</a:t>
            </a:r>
            <a:br>
              <a:rPr lang="de-DE" b="1" dirty="0"/>
            </a:br>
            <a:r>
              <a:rPr lang="en-US" dirty="0"/>
              <a:t>Quick and lightweight branching with advanced merging algorithms.</a:t>
            </a:r>
            <a:endParaRPr lang="en-US" b="1" dirty="0"/>
          </a:p>
          <a:p>
            <a:r>
              <a:rPr lang="de-DE" b="1" dirty="0"/>
              <a:t>Performance</a:t>
            </a:r>
            <a:br>
              <a:rPr lang="de-DE" b="1" dirty="0"/>
            </a:br>
            <a:r>
              <a:rPr lang="en-US" dirty="0"/>
              <a:t>Fast operations for large projects and efficient handling of repositories.</a:t>
            </a:r>
            <a:endParaRPr lang="en-US" b="1" dirty="0"/>
          </a:p>
          <a:p>
            <a:r>
              <a:rPr lang="de-DE" b="1" dirty="0"/>
              <a:t>Data Integrity</a:t>
            </a:r>
            <a:br>
              <a:rPr lang="de-DE" b="1" dirty="0"/>
            </a:br>
            <a:r>
              <a:rPr lang="en-US" dirty="0"/>
              <a:t>Uses SHA-1 hashing to ensure data integrity and detect corruption.</a:t>
            </a:r>
            <a:endParaRPr lang="de-DE" dirty="0"/>
          </a:p>
          <a:p>
            <a:pPr marL="0" indent="0">
              <a:buNone/>
            </a:pPr>
            <a:r>
              <a:rPr lang="en-US" sz="1400" i="1" dirty="0"/>
              <a:t>“I'm an egoistical bastard, so I name all my projects after myself. First Linux, now git.”</a:t>
            </a:r>
            <a:endParaRPr lang="de-DE" sz="1400" i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851880-2D2F-91FB-F0C1-8B2EBFB88A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75C005-4D4F-886C-469D-5ACE8B32F6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B74B447-C16A-5530-0E59-D3BB988420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4A7726F-8E0A-EF9F-965C-FCABB17B68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3216B15-55D9-4263-8254-DEE62BE42BB3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F5EC84B-C543-781B-392D-C9E71D7AFA9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0D25E3-B92E-7FE3-5EC8-D03F4ED0C1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46ECC05-4682-D9C4-9A75-27BA1B250F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9769" y="1448658"/>
            <a:ext cx="1551564" cy="2030332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0636CF-790D-6F3E-2A52-31152E99C7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98696" y="3571274"/>
            <a:ext cx="805275" cy="93667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C715483-A4EF-9A5C-FB36-08C4E9EEEB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5921" y="3702436"/>
            <a:ext cx="1429554" cy="66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486289"/>
      </p:ext>
    </p:extLst>
  </p:cSld>
  <p:clrMapOvr>
    <a:masterClrMapping/>
  </p:clrMapOvr>
  <p:transition spd="slow" advClick="0"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19F40-3E17-4E4D-8B3D-63C51D4C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bal</a:t>
            </a:r>
            <a:r>
              <a:rPr lang="de-DE" dirty="0"/>
              <a:t> Repository Setting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0C9F5CB-88C0-8546-6B4F-CB7D70F13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132A655-646B-59EF-96B9-133A066C5B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21532"/>
            <a:ext cx="4143226" cy="3778706"/>
          </a:xfrm>
        </p:spPr>
        <p:txBody>
          <a:bodyPr/>
          <a:lstStyle/>
          <a:p>
            <a:pPr marL="0" indent="0">
              <a:buNone/>
            </a:pPr>
            <a:r>
              <a:rPr lang="en-US" sz="1500" b="1" dirty="0"/>
              <a:t>Branch Policies</a:t>
            </a:r>
          </a:p>
          <a:p>
            <a:r>
              <a:rPr lang="en-US" sz="1600" dirty="0"/>
              <a:t>Branch cannot be deleted, and changes must be made via pull request</a:t>
            </a:r>
          </a:p>
          <a:p>
            <a:r>
              <a:rPr lang="en-US" sz="1500" dirty="0"/>
              <a:t>Require a minimum number of reviewers</a:t>
            </a:r>
          </a:p>
          <a:p>
            <a:r>
              <a:rPr lang="en-US" sz="1500" dirty="0"/>
              <a:t>Check for linked work items</a:t>
            </a:r>
          </a:p>
          <a:p>
            <a:r>
              <a:rPr lang="en-US" sz="1500" dirty="0"/>
              <a:t>Check for comment resolution</a:t>
            </a:r>
          </a:p>
          <a:p>
            <a:r>
              <a:rPr lang="en-US" sz="1500" dirty="0"/>
              <a:t>Limit merge types</a:t>
            </a:r>
          </a:p>
          <a:p>
            <a:pPr marL="0" indent="0">
              <a:buNone/>
            </a:pPr>
            <a:r>
              <a:rPr lang="en-US" sz="1500" dirty="0"/>
              <a:t>And in addition</a:t>
            </a:r>
          </a:p>
          <a:p>
            <a:r>
              <a:rPr lang="en-US" sz="1500" dirty="0"/>
              <a:t>Build Validation</a:t>
            </a:r>
          </a:p>
          <a:p>
            <a:r>
              <a:rPr lang="en-US" sz="1500" dirty="0"/>
              <a:t>Status Checks</a:t>
            </a:r>
          </a:p>
          <a:p>
            <a:r>
              <a:rPr lang="en-US" sz="1500" dirty="0"/>
              <a:t>Automatically included reviewers</a:t>
            </a:r>
          </a:p>
          <a:p>
            <a:endParaRPr lang="en-US" sz="15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870044-827F-7EFD-C046-37DE7B1A59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15AD42-E08B-B19B-0B27-C0B968D7633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E911ED-837F-205B-6901-10A80281C02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A78B99-B147-E923-2399-58D3783206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0</a:t>
            </a:fld>
            <a:endParaRPr lang="de-D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E34228-C329-F4C4-9D41-75519121C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4383" y="65088"/>
            <a:ext cx="3885818" cy="4754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099202"/>
      </p:ext>
    </p:extLst>
  </p:cSld>
  <p:clrMapOvr>
    <a:masterClrMapping/>
  </p:clrMapOvr>
  <p:transition spd="slow" advClick="0"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19F40-3E17-4E4D-8B3D-63C51D4C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bal</a:t>
            </a:r>
            <a:r>
              <a:rPr lang="de-DE" dirty="0"/>
              <a:t> Repository Setting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0C9F5CB-88C0-8546-6B4F-CB7D70F13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132A655-646B-59EF-96B9-133A066C5B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21532"/>
            <a:ext cx="3920341" cy="3778706"/>
          </a:xfrm>
        </p:spPr>
        <p:txBody>
          <a:bodyPr/>
          <a:lstStyle/>
          <a:p>
            <a:pPr marL="0" indent="0">
              <a:buNone/>
            </a:pPr>
            <a:r>
              <a:rPr lang="en-US" sz="1500" b="1" dirty="0"/>
              <a:t>Security</a:t>
            </a:r>
          </a:p>
          <a:p>
            <a:r>
              <a:rPr lang="en-US" sz="1500" dirty="0"/>
              <a:t>Specify granular permissions per group or user</a:t>
            </a:r>
          </a:p>
          <a:p>
            <a:r>
              <a:rPr lang="en-US" sz="1500" dirty="0"/>
              <a:t>Predefined groups such as Contributors or Readers</a:t>
            </a:r>
          </a:p>
          <a:p>
            <a:r>
              <a:rPr lang="en-US" sz="1500" dirty="0"/>
              <a:t>Permissions are propagated to all repos but can be individually overwritten</a:t>
            </a:r>
          </a:p>
          <a:p>
            <a:r>
              <a:rPr lang="en-US" sz="1500" dirty="0"/>
              <a:t>Permissions allow to block things like</a:t>
            </a:r>
          </a:p>
          <a:p>
            <a:pPr lvl="1"/>
            <a:r>
              <a:rPr lang="en-US" sz="1500" dirty="0"/>
              <a:t>Repository creation</a:t>
            </a:r>
          </a:p>
          <a:p>
            <a:pPr lvl="1"/>
            <a:r>
              <a:rPr lang="en-US" sz="1500" dirty="0"/>
              <a:t>Repository deletion</a:t>
            </a:r>
          </a:p>
          <a:p>
            <a:pPr lvl="1"/>
            <a:r>
              <a:rPr lang="en-US" sz="1500" dirty="0"/>
              <a:t>Force push</a:t>
            </a:r>
          </a:p>
          <a:p>
            <a:pPr lvl="1"/>
            <a:r>
              <a:rPr lang="en-US" sz="1500" dirty="0"/>
              <a:t>Bypassing policies</a:t>
            </a:r>
          </a:p>
          <a:p>
            <a:pPr lvl="1"/>
            <a:endParaRPr lang="en-US" sz="15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870044-827F-7EFD-C046-37DE7B1A59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15AD42-E08B-B19B-0B27-C0B968D7633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E911ED-837F-205B-6901-10A80281C02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A78B99-B147-E923-2399-58D3783206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1</a:t>
            </a:fld>
            <a:endParaRPr lang="de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91BB89-820B-094B-0CA5-6470C5D447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301" y="183628"/>
            <a:ext cx="4248000" cy="467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81439"/>
      </p:ext>
    </p:extLst>
  </p:cSld>
  <p:clrMapOvr>
    <a:masterClrMapping/>
  </p:clrMapOvr>
  <p:transition spd="slow" advClick="0"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 Item Track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F7166DB-3CAB-85A6-A257-745FE201DF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C3EFFE2-4211-4BF3-3A70-73079B3121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CF6BE3-927E-7DA6-145F-29E07A48A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060450"/>
            <a:ext cx="6227552" cy="3539788"/>
          </a:xfrm>
        </p:spPr>
        <p:txBody>
          <a:bodyPr/>
          <a:lstStyle/>
          <a:p>
            <a:r>
              <a:rPr lang="en-US" b="1" dirty="0"/>
              <a:t>Centralized Task Management</a:t>
            </a:r>
            <a:br>
              <a:rPr lang="en-US" dirty="0"/>
            </a:br>
            <a:r>
              <a:rPr lang="en-US" dirty="0"/>
              <a:t>Track all work items (tasks, bugs, user stories, epics) in one place to ensure alignment and visibility across teams.</a:t>
            </a:r>
          </a:p>
          <a:p>
            <a:r>
              <a:rPr lang="en-US" b="1" dirty="0"/>
              <a:t>Connect Work to Code</a:t>
            </a:r>
            <a:br>
              <a:rPr lang="en-US" dirty="0"/>
            </a:br>
            <a:r>
              <a:rPr lang="en-US" dirty="0"/>
              <a:t>Link work items directly to code changes, pull requests, and builds for complete traceability throughout the development lifecycle.</a:t>
            </a:r>
          </a:p>
          <a:p>
            <a:r>
              <a:rPr lang="en-US" b="1" dirty="0"/>
              <a:t>Agile Planning Tools</a:t>
            </a:r>
            <a:br>
              <a:rPr lang="en-US" dirty="0"/>
            </a:br>
            <a:r>
              <a:rPr lang="en-US" dirty="0"/>
              <a:t>Use agile boards (Kanban, Scrum) for sprint planning, task assignment, and real-time progress tracking.</a:t>
            </a:r>
          </a:p>
          <a:p>
            <a:r>
              <a:rPr lang="en-US" b="1" dirty="0"/>
              <a:t>Customizable Workflows</a:t>
            </a:r>
            <a:br>
              <a:rPr lang="en-US" dirty="0"/>
            </a:br>
            <a:r>
              <a:rPr lang="en-US" dirty="0"/>
              <a:t>Tailor work item types, states, and processes to fit your team's specific workflows and methodologies.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2</a:t>
            </a:fld>
            <a:endParaRPr lang="de-DE" dirty="0"/>
          </a:p>
        </p:txBody>
      </p:sp>
      <p:pic>
        <p:nvPicPr>
          <p:cNvPr id="12" name="Picture 11" descr="A green check mark and a green square&#10;&#10;Description automatically generated">
            <a:extLst>
              <a:ext uri="{FF2B5EF4-FFF2-40B4-BE49-F238E27FC236}">
                <a16:creationId xmlns:a16="http://schemas.microsoft.com/office/drawing/2014/main" id="{E0709C4A-6F97-13E8-B175-19BA4E47EC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5537" y="278370"/>
            <a:ext cx="442011" cy="44201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0344E2B-5AF8-7F96-8C4A-29AF2E5E6C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7828" y="1570679"/>
            <a:ext cx="1752752" cy="2240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284683"/>
      </p:ext>
    </p:extLst>
  </p:cSld>
  <p:clrMapOvr>
    <a:masterClrMapping/>
  </p:clrMapOvr>
  <p:transition spd="slow" advClick="0"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ile Project Management: </a:t>
            </a:r>
            <a:r>
              <a:rPr lang="de-DE" b="1" dirty="0"/>
              <a:t>Kanba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BDAE84-0ECB-A038-B10C-435D6E178B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A43E32-D032-2E40-6668-0D42C10991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CF6BE3-927E-7DA6-145F-29E07A48A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3522577" cy="3539788"/>
          </a:xfrm>
        </p:spPr>
        <p:txBody>
          <a:bodyPr/>
          <a:lstStyle/>
          <a:p>
            <a:r>
              <a:rPr lang="en-US" b="1" dirty="0"/>
              <a:t>Visualize Workflow</a:t>
            </a:r>
            <a:br>
              <a:rPr lang="en-US" b="1" dirty="0"/>
            </a:br>
            <a:r>
              <a:rPr lang="en-US" dirty="0"/>
              <a:t>Tasks are represented on a board, moving through stages (e.g., To Do, In Progress, Done).</a:t>
            </a:r>
          </a:p>
          <a:p>
            <a:r>
              <a:rPr lang="en-US" b="1" dirty="0"/>
              <a:t>Continuous Flow</a:t>
            </a:r>
            <a:br>
              <a:rPr lang="en-US" b="1" dirty="0"/>
            </a:br>
            <a:r>
              <a:rPr lang="en-US" dirty="0"/>
              <a:t>No time-boxed sprints—work is delivered continuously as it's completed.</a:t>
            </a:r>
          </a:p>
          <a:p>
            <a:r>
              <a:rPr lang="en-US" b="1" dirty="0"/>
              <a:t>Limit Work in Progress</a:t>
            </a:r>
            <a:br>
              <a:rPr lang="en-US" b="1" dirty="0"/>
            </a:br>
            <a:r>
              <a:rPr lang="en-US" dirty="0"/>
              <a:t>Control the number of tasks in progress to prevent overload and improve efficiency.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10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3</a:t>
            </a:fld>
            <a:endParaRPr lang="de-DE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BF7746C-DC2C-11C8-B8F4-27D2A02EE5B1}"/>
              </a:ext>
            </a:extLst>
          </p:cNvPr>
          <p:cNvGrpSpPr/>
          <p:nvPr/>
        </p:nvGrpSpPr>
        <p:grpSpPr>
          <a:xfrm>
            <a:off x="4035551" y="842066"/>
            <a:ext cx="4928935" cy="3539788"/>
            <a:chOff x="4035551" y="842066"/>
            <a:chExt cx="4928935" cy="353978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4178E17-5F09-6310-CD3A-3BC39F814436}"/>
                </a:ext>
              </a:extLst>
            </p:cNvPr>
            <p:cNvSpPr/>
            <p:nvPr/>
          </p:nvSpPr>
          <p:spPr>
            <a:xfrm>
              <a:off x="4035551" y="842066"/>
              <a:ext cx="4928935" cy="3539788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3255A3-D74C-53AA-D8D2-8C728CE81732}"/>
                </a:ext>
              </a:extLst>
            </p:cNvPr>
            <p:cNvSpPr txBox="1"/>
            <p:nvPr/>
          </p:nvSpPr>
          <p:spPr>
            <a:xfrm>
              <a:off x="5610825" y="957601"/>
              <a:ext cx="16764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/>
                <a:t>Kanban Board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0A57DF1B-7A5F-5AB1-F384-7A78387A8C2A}"/>
                </a:ext>
              </a:extLst>
            </p:cNvPr>
            <p:cNvSpPr/>
            <p:nvPr/>
          </p:nvSpPr>
          <p:spPr>
            <a:xfrm>
              <a:off x="4132315" y="1399257"/>
              <a:ext cx="1109472" cy="2849655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D557F5E-AD20-2B92-05BE-274D150ACBA1}"/>
                </a:ext>
              </a:extLst>
            </p:cNvPr>
            <p:cNvSpPr txBox="1"/>
            <p:nvPr/>
          </p:nvSpPr>
          <p:spPr>
            <a:xfrm>
              <a:off x="4186921" y="1463100"/>
              <a:ext cx="10002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/>
                <a:t>Backlog</a:t>
              </a:r>
            </a:p>
          </p:txBody>
        </p:sp>
        <p:sp>
          <p:nvSpPr>
            <p:cNvPr id="19" name="Rectangle: Diagonal Corners Rounded 18">
              <a:extLst>
                <a:ext uri="{FF2B5EF4-FFF2-40B4-BE49-F238E27FC236}">
                  <a16:creationId xmlns:a16="http://schemas.microsoft.com/office/drawing/2014/main" id="{476BB0F1-6452-C6E4-3003-72C588940449}"/>
                </a:ext>
              </a:extLst>
            </p:cNvPr>
            <p:cNvSpPr/>
            <p:nvPr/>
          </p:nvSpPr>
          <p:spPr>
            <a:xfrm>
              <a:off x="4296907" y="1968029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  <p:sp>
          <p:nvSpPr>
            <p:cNvPr id="21" name="Rectangle: Diagonal Corners Rounded 20">
              <a:extLst>
                <a:ext uri="{FF2B5EF4-FFF2-40B4-BE49-F238E27FC236}">
                  <a16:creationId xmlns:a16="http://schemas.microsoft.com/office/drawing/2014/main" id="{2C8BA9D0-4B3C-944A-23AB-7DC7F55753F3}"/>
                </a:ext>
              </a:extLst>
            </p:cNvPr>
            <p:cNvSpPr/>
            <p:nvPr/>
          </p:nvSpPr>
          <p:spPr>
            <a:xfrm>
              <a:off x="4296907" y="2542299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778AF12-92C1-FCE7-5394-6DC1675CB50B}"/>
                </a:ext>
              </a:extLst>
            </p:cNvPr>
            <p:cNvSpPr/>
            <p:nvPr/>
          </p:nvSpPr>
          <p:spPr>
            <a:xfrm>
              <a:off x="5339581" y="1398517"/>
              <a:ext cx="1109472" cy="2850395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8C244A3-7988-6133-3B26-268B96A0C634}"/>
                </a:ext>
              </a:extLst>
            </p:cNvPr>
            <p:cNvSpPr txBox="1"/>
            <p:nvPr/>
          </p:nvSpPr>
          <p:spPr>
            <a:xfrm>
              <a:off x="5394187" y="1462360"/>
              <a:ext cx="10002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err="1"/>
                <a:t>Doing</a:t>
              </a:r>
              <a:endParaRPr lang="de-DE" dirty="0"/>
            </a:p>
          </p:txBody>
        </p:sp>
        <p:sp>
          <p:nvSpPr>
            <p:cNvPr id="24" name="Rectangle: Diagonal Corners Rounded 23">
              <a:extLst>
                <a:ext uri="{FF2B5EF4-FFF2-40B4-BE49-F238E27FC236}">
                  <a16:creationId xmlns:a16="http://schemas.microsoft.com/office/drawing/2014/main" id="{2A7E19EB-11D6-3BA4-572B-CD28F019BF99}"/>
                </a:ext>
              </a:extLst>
            </p:cNvPr>
            <p:cNvSpPr/>
            <p:nvPr/>
          </p:nvSpPr>
          <p:spPr>
            <a:xfrm>
              <a:off x="5504173" y="1967289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  <p:sp>
          <p:nvSpPr>
            <p:cNvPr id="25" name="Rectangle: Diagonal Corners Rounded 24">
              <a:extLst>
                <a:ext uri="{FF2B5EF4-FFF2-40B4-BE49-F238E27FC236}">
                  <a16:creationId xmlns:a16="http://schemas.microsoft.com/office/drawing/2014/main" id="{4D10BA49-DEF8-B914-C95E-6C34E35439B3}"/>
                </a:ext>
              </a:extLst>
            </p:cNvPr>
            <p:cNvSpPr/>
            <p:nvPr/>
          </p:nvSpPr>
          <p:spPr>
            <a:xfrm>
              <a:off x="5504173" y="2541559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  <p:sp>
          <p:nvSpPr>
            <p:cNvPr id="26" name="Rectangle: Diagonal Corners Rounded 25">
              <a:extLst>
                <a:ext uri="{FF2B5EF4-FFF2-40B4-BE49-F238E27FC236}">
                  <a16:creationId xmlns:a16="http://schemas.microsoft.com/office/drawing/2014/main" id="{C9633727-CAF8-C566-0A74-DBBDE0E75D45}"/>
                </a:ext>
              </a:extLst>
            </p:cNvPr>
            <p:cNvSpPr/>
            <p:nvPr/>
          </p:nvSpPr>
          <p:spPr>
            <a:xfrm>
              <a:off x="5504173" y="3115829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5E1A0060-458D-F65D-BA5A-DCBDD5C15E7A}"/>
                </a:ext>
              </a:extLst>
            </p:cNvPr>
            <p:cNvSpPr/>
            <p:nvPr/>
          </p:nvSpPr>
          <p:spPr>
            <a:xfrm>
              <a:off x="6546590" y="1398517"/>
              <a:ext cx="1109472" cy="2850395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3271B26-72DC-8076-823D-9386BFB6E1FB}"/>
                </a:ext>
              </a:extLst>
            </p:cNvPr>
            <p:cNvSpPr txBox="1"/>
            <p:nvPr/>
          </p:nvSpPr>
          <p:spPr>
            <a:xfrm>
              <a:off x="6601196" y="1462360"/>
              <a:ext cx="10002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/>
                <a:t>Review</a:t>
              </a:r>
            </a:p>
          </p:txBody>
        </p:sp>
        <p:sp>
          <p:nvSpPr>
            <p:cNvPr id="29" name="Rectangle: Diagonal Corners Rounded 28">
              <a:extLst>
                <a:ext uri="{FF2B5EF4-FFF2-40B4-BE49-F238E27FC236}">
                  <a16:creationId xmlns:a16="http://schemas.microsoft.com/office/drawing/2014/main" id="{BE42C8E6-C828-C10A-7A2F-3D0DD0A45CA7}"/>
                </a:ext>
              </a:extLst>
            </p:cNvPr>
            <p:cNvSpPr/>
            <p:nvPr/>
          </p:nvSpPr>
          <p:spPr>
            <a:xfrm>
              <a:off x="6711182" y="1967289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7D5DDE0-5030-7D2A-F077-0505F47D5481}"/>
                </a:ext>
              </a:extLst>
            </p:cNvPr>
            <p:cNvSpPr/>
            <p:nvPr/>
          </p:nvSpPr>
          <p:spPr>
            <a:xfrm>
              <a:off x="7753082" y="1386751"/>
              <a:ext cx="1109472" cy="2862161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E9A3E49-2EFC-B015-A1A4-522502257A77}"/>
                </a:ext>
              </a:extLst>
            </p:cNvPr>
            <p:cNvSpPr txBox="1"/>
            <p:nvPr/>
          </p:nvSpPr>
          <p:spPr>
            <a:xfrm>
              <a:off x="7807688" y="1450594"/>
              <a:ext cx="10002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err="1"/>
                <a:t>Done</a:t>
              </a:r>
              <a:endParaRPr lang="de-DE" dirty="0"/>
            </a:p>
          </p:txBody>
        </p:sp>
        <p:sp>
          <p:nvSpPr>
            <p:cNvPr id="34" name="Rectangle: Diagonal Corners Rounded 33">
              <a:extLst>
                <a:ext uri="{FF2B5EF4-FFF2-40B4-BE49-F238E27FC236}">
                  <a16:creationId xmlns:a16="http://schemas.microsoft.com/office/drawing/2014/main" id="{B6C72C28-4114-46E8-D258-2E87414F4236}"/>
                </a:ext>
              </a:extLst>
            </p:cNvPr>
            <p:cNvSpPr/>
            <p:nvPr/>
          </p:nvSpPr>
          <p:spPr>
            <a:xfrm>
              <a:off x="7917674" y="1955523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  <p:sp>
          <p:nvSpPr>
            <p:cNvPr id="35" name="Rectangle: Diagonal Corners Rounded 34">
              <a:extLst>
                <a:ext uri="{FF2B5EF4-FFF2-40B4-BE49-F238E27FC236}">
                  <a16:creationId xmlns:a16="http://schemas.microsoft.com/office/drawing/2014/main" id="{4A1F4A08-7FFE-932D-EA3E-AB703909FC36}"/>
                </a:ext>
              </a:extLst>
            </p:cNvPr>
            <p:cNvSpPr/>
            <p:nvPr/>
          </p:nvSpPr>
          <p:spPr>
            <a:xfrm>
              <a:off x="7917674" y="2529793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  <p:sp>
          <p:nvSpPr>
            <p:cNvPr id="36" name="Rectangle: Diagonal Corners Rounded 35">
              <a:extLst>
                <a:ext uri="{FF2B5EF4-FFF2-40B4-BE49-F238E27FC236}">
                  <a16:creationId xmlns:a16="http://schemas.microsoft.com/office/drawing/2014/main" id="{0734C065-C205-6AF9-E485-FF7FAE59F53E}"/>
                </a:ext>
              </a:extLst>
            </p:cNvPr>
            <p:cNvSpPr/>
            <p:nvPr/>
          </p:nvSpPr>
          <p:spPr>
            <a:xfrm>
              <a:off x="7917674" y="3104063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  <p:sp>
          <p:nvSpPr>
            <p:cNvPr id="37" name="Rectangle: Diagonal Corners Rounded 36">
              <a:extLst>
                <a:ext uri="{FF2B5EF4-FFF2-40B4-BE49-F238E27FC236}">
                  <a16:creationId xmlns:a16="http://schemas.microsoft.com/office/drawing/2014/main" id="{E7D63E72-CA4A-CD2D-D7F9-3B8AB3E860D9}"/>
                </a:ext>
              </a:extLst>
            </p:cNvPr>
            <p:cNvSpPr/>
            <p:nvPr/>
          </p:nvSpPr>
          <p:spPr>
            <a:xfrm>
              <a:off x="7911896" y="3678286"/>
              <a:ext cx="780288" cy="414528"/>
            </a:xfrm>
            <a:prstGeom prst="round2Diag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Tick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5524627"/>
      </p:ext>
    </p:extLst>
  </p:cSld>
  <p:clrMapOvr>
    <a:masterClrMapping/>
  </p:clrMapOvr>
  <p:transition spd="slow" advClick="0"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ile Project Management: </a:t>
            </a:r>
            <a:r>
              <a:rPr lang="de-DE" b="1" dirty="0" err="1"/>
              <a:t>Scrum</a:t>
            </a:r>
            <a:endParaRPr lang="de-DE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BDAE84-0ECB-A038-B10C-435D6E178B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A43E32-D032-2E40-6668-0D42C10991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CF6BE3-927E-7DA6-145F-29E07A48A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8" y="1060451"/>
            <a:ext cx="8568001" cy="584844"/>
          </a:xfrm>
        </p:spPr>
        <p:txBody>
          <a:bodyPr/>
          <a:lstStyle/>
          <a:p>
            <a:r>
              <a:rPr lang="en-US" sz="1400" b="1" dirty="0"/>
              <a:t>Roles</a:t>
            </a:r>
            <a:r>
              <a:rPr lang="en-US" sz="1400" dirty="0"/>
              <a:t>: Product Owner, Scrum Master, Development Team work together to deliver increments.</a:t>
            </a:r>
          </a:p>
          <a:p>
            <a:r>
              <a:rPr lang="en-US" sz="1400" b="1" dirty="0"/>
              <a:t>Backlog &amp; Refinement</a:t>
            </a:r>
            <a:r>
              <a:rPr lang="en-US" sz="1400" dirty="0"/>
              <a:t>: Product Backlog is prioritized and refined regularly to ensure clarity and readines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10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4</a:t>
            </a:fld>
            <a:endParaRPr lang="de-DE" dirty="0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4713ADE4-8A84-7D6E-79D8-7C1277D1AD79}"/>
              </a:ext>
            </a:extLst>
          </p:cNvPr>
          <p:cNvGrpSpPr/>
          <p:nvPr/>
        </p:nvGrpSpPr>
        <p:grpSpPr>
          <a:xfrm>
            <a:off x="2899369" y="1961695"/>
            <a:ext cx="6204006" cy="2736061"/>
            <a:chOff x="2878826" y="1623235"/>
            <a:chExt cx="6204006" cy="2736061"/>
          </a:xfrm>
        </p:grpSpPr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C2CC1DD2-1723-2A38-A3E2-9A511BC3DB84}"/>
                </a:ext>
              </a:extLst>
            </p:cNvPr>
            <p:cNvSpPr/>
            <p:nvPr/>
          </p:nvSpPr>
          <p:spPr>
            <a:xfrm>
              <a:off x="4947627" y="3633160"/>
              <a:ext cx="421641" cy="288000"/>
            </a:xfrm>
            <a:prstGeom prst="rightArrow">
              <a:avLst/>
            </a:prstGeom>
            <a:solidFill>
              <a:schemeClr val="accent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" name="Graphic 13" descr="Recycle with solid fill">
              <a:extLst>
                <a:ext uri="{FF2B5EF4-FFF2-40B4-BE49-F238E27FC236}">
                  <a16:creationId xmlns:a16="http://schemas.microsoft.com/office/drawing/2014/main" id="{60CF9988-8EC0-0526-8F05-A26111B526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369268" y="2379582"/>
              <a:ext cx="1747722" cy="1747722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01030DD-4BC1-2ADF-C249-AF12591364B3}"/>
                </a:ext>
              </a:extLst>
            </p:cNvPr>
            <p:cNvSpPr/>
            <p:nvPr/>
          </p:nvSpPr>
          <p:spPr>
            <a:xfrm>
              <a:off x="3450174" y="3705123"/>
              <a:ext cx="244012" cy="144075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7BBB84B-0E40-658B-43FE-77F18789E48A}"/>
                </a:ext>
              </a:extLst>
            </p:cNvPr>
            <p:cNvGrpSpPr/>
            <p:nvPr/>
          </p:nvGrpSpPr>
          <p:grpSpPr>
            <a:xfrm>
              <a:off x="2974340" y="3504335"/>
              <a:ext cx="475834" cy="487819"/>
              <a:chOff x="2974340" y="3504335"/>
              <a:chExt cx="475834" cy="487819"/>
            </a:xfrm>
          </p:grpSpPr>
          <p:pic>
            <p:nvPicPr>
              <p:cNvPr id="46" name="Graphic 45" descr="List with solid fill">
                <a:extLst>
                  <a:ext uri="{FF2B5EF4-FFF2-40B4-BE49-F238E27FC236}">
                    <a16:creationId xmlns:a16="http://schemas.microsoft.com/office/drawing/2014/main" id="{3A5DFF38-813E-949D-04C1-A33C627B8E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028534" y="3504335"/>
                <a:ext cx="421640" cy="421640"/>
              </a:xfrm>
              <a:prstGeom prst="rect">
                <a:avLst/>
              </a:prstGeom>
            </p:spPr>
          </p:pic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B2B37F19-022A-0E18-5C45-872AD503671E}"/>
                  </a:ext>
                </a:extLst>
              </p:cNvPr>
              <p:cNvSpPr/>
              <p:nvPr/>
            </p:nvSpPr>
            <p:spPr>
              <a:xfrm>
                <a:off x="3053477" y="3612951"/>
                <a:ext cx="263366" cy="33893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30" name="Graphic 29" descr="List with solid fill">
                <a:extLst>
                  <a:ext uri="{FF2B5EF4-FFF2-40B4-BE49-F238E27FC236}">
                    <a16:creationId xmlns:a16="http://schemas.microsoft.com/office/drawing/2014/main" id="{A1EB0972-AA69-A154-1ACE-4DC3D716FD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974340" y="3570514"/>
                <a:ext cx="421640" cy="421640"/>
              </a:xfrm>
              <a:prstGeom prst="rect">
                <a:avLst/>
              </a:prstGeom>
            </p:spPr>
          </p:pic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BDE0E5E-324F-AE73-CBE9-24FCA5215124}"/>
                </a:ext>
              </a:extLst>
            </p:cNvPr>
            <p:cNvSpPr txBox="1"/>
            <p:nvPr/>
          </p:nvSpPr>
          <p:spPr>
            <a:xfrm>
              <a:off x="2878826" y="3959186"/>
              <a:ext cx="61266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Backlog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CE0A54E-A4C0-5D7F-5774-7F1004DB9DED}"/>
                </a:ext>
              </a:extLst>
            </p:cNvPr>
            <p:cNvSpPr txBox="1"/>
            <p:nvPr/>
          </p:nvSpPr>
          <p:spPr>
            <a:xfrm>
              <a:off x="3519345" y="3959186"/>
              <a:ext cx="80983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Backlog</a:t>
              </a:r>
            </a:p>
            <a:p>
              <a:pPr algn="ctr"/>
              <a:r>
                <a:rPr lang="de-DE" sz="1000" dirty="0" err="1"/>
                <a:t>Refinement</a:t>
              </a:r>
              <a:endParaRPr lang="de-DE" sz="100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E3375D6A-5953-12B7-C323-BD61C77FBECB}"/>
                </a:ext>
              </a:extLst>
            </p:cNvPr>
            <p:cNvGrpSpPr/>
            <p:nvPr/>
          </p:nvGrpSpPr>
          <p:grpSpPr>
            <a:xfrm>
              <a:off x="3703949" y="3504335"/>
              <a:ext cx="475834" cy="487819"/>
              <a:chOff x="2974340" y="3504335"/>
              <a:chExt cx="475834" cy="487819"/>
            </a:xfrm>
          </p:grpSpPr>
          <p:pic>
            <p:nvPicPr>
              <p:cNvPr id="50" name="Graphic 49" descr="Checklist with solid fill">
                <a:extLst>
                  <a:ext uri="{FF2B5EF4-FFF2-40B4-BE49-F238E27FC236}">
                    <a16:creationId xmlns:a16="http://schemas.microsoft.com/office/drawing/2014/main" id="{70BCE9AC-06E2-7BFB-76DC-CC0D66ED00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3028534" y="3504335"/>
                <a:ext cx="421640" cy="421640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E68AF1E1-36E1-2A25-8881-ABF333DA3C63}"/>
                  </a:ext>
                </a:extLst>
              </p:cNvPr>
              <p:cNvSpPr/>
              <p:nvPr/>
            </p:nvSpPr>
            <p:spPr>
              <a:xfrm>
                <a:off x="3053477" y="3612951"/>
                <a:ext cx="263366" cy="33893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52" name="Graphic 51" descr="Checklist with solid fill">
                <a:extLst>
                  <a:ext uri="{FF2B5EF4-FFF2-40B4-BE49-F238E27FC236}">
                    <a16:creationId xmlns:a16="http://schemas.microsoft.com/office/drawing/2014/main" id="{FFCAFBEB-12FF-1E3C-CEE8-B8341EF35E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2974340" y="3570514"/>
                <a:ext cx="421640" cy="421640"/>
              </a:xfrm>
              <a:prstGeom prst="rect">
                <a:avLst/>
              </a:prstGeom>
            </p:spPr>
          </p:pic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62DB954-B654-EBBB-3C9E-CE88F9C3EC35}"/>
                </a:ext>
              </a:extLst>
            </p:cNvPr>
            <p:cNvSpPr/>
            <p:nvPr/>
          </p:nvSpPr>
          <p:spPr>
            <a:xfrm>
              <a:off x="4183458" y="3708150"/>
              <a:ext cx="244012" cy="144075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B55FC0C-D6D8-E29A-D68D-429A6F4CF8A8}"/>
                </a:ext>
              </a:extLst>
            </p:cNvPr>
            <p:cNvSpPr txBox="1"/>
            <p:nvPr/>
          </p:nvSpPr>
          <p:spPr>
            <a:xfrm>
              <a:off x="4353844" y="3942617"/>
              <a:ext cx="66396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Sprint</a:t>
              </a:r>
            </a:p>
            <a:p>
              <a:pPr algn="ctr"/>
              <a:r>
                <a:rPr lang="de-DE" sz="1000" dirty="0" err="1"/>
                <a:t>Planning</a:t>
              </a:r>
              <a:endParaRPr lang="de-DE" sz="1000" dirty="0"/>
            </a:p>
          </p:txBody>
        </p:sp>
        <p:pic>
          <p:nvPicPr>
            <p:cNvPr id="60" name="Graphic 59" descr="Checklist with solid fill">
              <a:extLst>
                <a:ext uri="{FF2B5EF4-FFF2-40B4-BE49-F238E27FC236}">
                  <a16:creationId xmlns:a16="http://schemas.microsoft.com/office/drawing/2014/main" id="{146CE52D-9102-06BB-2727-4846FB67E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476728" y="3539654"/>
              <a:ext cx="421641" cy="421641"/>
            </a:xfrm>
            <a:prstGeom prst="rect">
              <a:avLst/>
            </a:prstGeom>
          </p:spPr>
        </p:pic>
        <p:pic>
          <p:nvPicPr>
            <p:cNvPr id="61" name="Graphic 60" descr="Recycle with solid fill">
              <a:extLst>
                <a:ext uri="{FF2B5EF4-FFF2-40B4-BE49-F238E27FC236}">
                  <a16:creationId xmlns:a16="http://schemas.microsoft.com/office/drawing/2014/main" id="{B0BEE252-A0D5-943F-9CF9-6AB2D4FD00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502402" y="1935282"/>
              <a:ext cx="895062" cy="895062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CD257BD-1D22-F133-3902-5BAE712CB706}"/>
                </a:ext>
              </a:extLst>
            </p:cNvPr>
            <p:cNvSpPr txBox="1"/>
            <p:nvPr/>
          </p:nvSpPr>
          <p:spPr>
            <a:xfrm>
              <a:off x="5879888" y="3170404"/>
              <a:ext cx="72648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Sprint</a:t>
              </a:r>
            </a:p>
            <a:p>
              <a:pPr algn="ctr"/>
              <a:r>
                <a:rPr lang="de-DE" sz="1000" dirty="0"/>
                <a:t>2-4 </a:t>
              </a:r>
              <a:r>
                <a:rPr lang="de-DE" sz="1000" dirty="0" err="1"/>
                <a:t>Weeks</a:t>
              </a:r>
              <a:endParaRPr lang="de-DE" sz="1000" dirty="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FAA91AF-759C-C793-EB9C-8A6F98B343F5}"/>
                </a:ext>
              </a:extLst>
            </p:cNvPr>
            <p:cNvSpPr txBox="1"/>
            <p:nvPr/>
          </p:nvSpPr>
          <p:spPr>
            <a:xfrm>
              <a:off x="6732565" y="2318877"/>
              <a:ext cx="43473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 24 h</a:t>
              </a:r>
            </a:p>
          </p:txBody>
        </p:sp>
        <p:sp>
          <p:nvSpPr>
            <p:cNvPr id="64" name="Arrow: Right 63">
              <a:extLst>
                <a:ext uri="{FF2B5EF4-FFF2-40B4-BE49-F238E27FC236}">
                  <a16:creationId xmlns:a16="http://schemas.microsoft.com/office/drawing/2014/main" id="{994C56AC-B129-0155-B89F-7266CFC1FFC4}"/>
                </a:ext>
              </a:extLst>
            </p:cNvPr>
            <p:cNvSpPr/>
            <p:nvPr/>
          </p:nvSpPr>
          <p:spPr>
            <a:xfrm>
              <a:off x="7124608" y="3635251"/>
              <a:ext cx="421641" cy="288000"/>
            </a:xfrm>
            <a:prstGeom prst="rightArrow">
              <a:avLst/>
            </a:prstGeom>
            <a:solidFill>
              <a:schemeClr val="accent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70" name="Graphic 69" descr="Contract with solid fill">
              <a:extLst>
                <a:ext uri="{FF2B5EF4-FFF2-40B4-BE49-F238E27FC236}">
                  <a16:creationId xmlns:a16="http://schemas.microsoft.com/office/drawing/2014/main" id="{718F51E2-C232-D98D-F1A9-3350C2BA3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53867" y="3563343"/>
              <a:ext cx="421640" cy="421640"/>
            </a:xfrm>
            <a:prstGeom prst="rect">
              <a:avLst/>
            </a:prstGeom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BB89CCA-F99C-72A7-0923-20319F5B62D9}"/>
                </a:ext>
              </a:extLst>
            </p:cNvPr>
            <p:cNvSpPr txBox="1"/>
            <p:nvPr/>
          </p:nvSpPr>
          <p:spPr>
            <a:xfrm>
              <a:off x="7443126" y="3951667"/>
              <a:ext cx="64312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 err="1"/>
                <a:t>Finished</a:t>
              </a:r>
              <a:endParaRPr lang="de-DE" sz="1000" dirty="0"/>
            </a:p>
            <a:p>
              <a:pPr algn="ctr"/>
              <a:r>
                <a:rPr lang="de-DE" sz="1000" dirty="0"/>
                <a:t>Work</a:t>
              </a:r>
            </a:p>
          </p:txBody>
        </p:sp>
        <p:pic>
          <p:nvPicPr>
            <p:cNvPr id="66" name="Graphic 65" descr="Badge Tick1 with solid fill">
              <a:extLst>
                <a:ext uri="{FF2B5EF4-FFF2-40B4-BE49-F238E27FC236}">
                  <a16:creationId xmlns:a16="http://schemas.microsoft.com/office/drawing/2014/main" id="{CE4966CA-CECD-60C9-2D45-2F8CD3326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780628" y="3475373"/>
              <a:ext cx="175940" cy="175940"/>
            </a:xfrm>
            <a:prstGeom prst="rect">
              <a:avLst/>
            </a:prstGeom>
          </p:spPr>
        </p:pic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C912B228-ADE2-3327-3FC4-867F636F3FEB}"/>
                </a:ext>
              </a:extLst>
            </p:cNvPr>
            <p:cNvGrpSpPr/>
            <p:nvPr/>
          </p:nvGrpSpPr>
          <p:grpSpPr>
            <a:xfrm>
              <a:off x="2895745" y="2619382"/>
              <a:ext cx="614271" cy="760390"/>
              <a:chOff x="3546011" y="2674460"/>
              <a:chExt cx="614271" cy="760390"/>
            </a:xfrm>
          </p:grpSpPr>
          <p:pic>
            <p:nvPicPr>
              <p:cNvPr id="77" name="Graphic 76" descr="School girl with solid fill">
                <a:extLst>
                  <a:ext uri="{FF2B5EF4-FFF2-40B4-BE49-F238E27FC236}">
                    <a16:creationId xmlns:a16="http://schemas.microsoft.com/office/drawing/2014/main" id="{746ED1AF-45C3-1521-DE23-C97FC09BF2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3650576" y="2674460"/>
                <a:ext cx="421640" cy="421640"/>
              </a:xfrm>
              <a:prstGeom prst="rect">
                <a:avLst/>
              </a:prstGeom>
            </p:spPr>
          </p:pic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74B361BB-B980-FB7B-80F3-5C361543D688}"/>
                  </a:ext>
                </a:extLst>
              </p:cNvPr>
              <p:cNvSpPr txBox="1"/>
              <p:nvPr/>
            </p:nvSpPr>
            <p:spPr>
              <a:xfrm>
                <a:off x="3546011" y="3034740"/>
                <a:ext cx="61427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000" dirty="0" err="1"/>
                  <a:t>Product</a:t>
                </a:r>
                <a:endParaRPr lang="de-DE" sz="1000" dirty="0"/>
              </a:p>
              <a:p>
                <a:pPr algn="ctr"/>
                <a:r>
                  <a:rPr lang="de-DE" sz="1000" dirty="0" err="1"/>
                  <a:t>Owner</a:t>
                </a:r>
                <a:endParaRPr lang="de-DE" sz="1000" dirty="0"/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902D5044-96FD-166F-D222-CF1E61459EF7}"/>
                </a:ext>
              </a:extLst>
            </p:cNvPr>
            <p:cNvGrpSpPr/>
            <p:nvPr/>
          </p:nvGrpSpPr>
          <p:grpSpPr>
            <a:xfrm>
              <a:off x="5757257" y="1623235"/>
              <a:ext cx="550151" cy="747584"/>
              <a:chOff x="4508967" y="2440899"/>
              <a:chExt cx="550151" cy="747584"/>
            </a:xfrm>
          </p:grpSpPr>
          <p:pic>
            <p:nvPicPr>
              <p:cNvPr id="75" name="Graphic 74" descr="School boy with solid fill">
                <a:extLst>
                  <a:ext uri="{FF2B5EF4-FFF2-40B4-BE49-F238E27FC236}">
                    <a16:creationId xmlns:a16="http://schemas.microsoft.com/office/drawing/2014/main" id="{09A64846-3EBB-051B-ED17-AB2BB76DA2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4578870" y="2440899"/>
                <a:ext cx="415996" cy="415996"/>
              </a:xfrm>
              <a:prstGeom prst="rect">
                <a:avLst/>
              </a:prstGeom>
            </p:spPr>
          </p:pic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6CEE8131-5CCF-25AF-6A40-12F56E33943A}"/>
                  </a:ext>
                </a:extLst>
              </p:cNvPr>
              <p:cNvSpPr txBox="1"/>
              <p:nvPr/>
            </p:nvSpPr>
            <p:spPr>
              <a:xfrm>
                <a:off x="4508967" y="2788373"/>
                <a:ext cx="55015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000" dirty="0" err="1"/>
                  <a:t>Scrum</a:t>
                </a:r>
                <a:endParaRPr lang="de-DE" sz="1000" dirty="0"/>
              </a:p>
              <a:p>
                <a:pPr algn="ctr"/>
                <a:r>
                  <a:rPr lang="de-DE" sz="1000" dirty="0"/>
                  <a:t>Master</a:t>
                </a: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0CCA66D2-5CCA-AF3E-AB83-1E6A03B9013A}"/>
                </a:ext>
              </a:extLst>
            </p:cNvPr>
            <p:cNvGrpSpPr/>
            <p:nvPr/>
          </p:nvGrpSpPr>
          <p:grpSpPr>
            <a:xfrm>
              <a:off x="4227801" y="2590943"/>
              <a:ext cx="906017" cy="789673"/>
              <a:chOff x="4677650" y="1510340"/>
              <a:chExt cx="906017" cy="789673"/>
            </a:xfrm>
          </p:grpSpPr>
          <p:pic>
            <p:nvPicPr>
              <p:cNvPr id="79" name="Graphic 78" descr="Group of men with solid fill">
                <a:extLst>
                  <a:ext uri="{FF2B5EF4-FFF2-40B4-BE49-F238E27FC236}">
                    <a16:creationId xmlns:a16="http://schemas.microsoft.com/office/drawing/2014/main" id="{1BDD01D6-F5DA-0082-F572-EE71C36D14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4919837" y="1510340"/>
                <a:ext cx="421640" cy="421640"/>
              </a:xfrm>
              <a:prstGeom prst="rect">
                <a:avLst/>
              </a:prstGeom>
            </p:spPr>
          </p:pic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772193A4-82AC-B211-20FA-CFCAB69019A3}"/>
                  </a:ext>
                </a:extLst>
              </p:cNvPr>
              <p:cNvSpPr txBox="1"/>
              <p:nvPr/>
            </p:nvSpPr>
            <p:spPr>
              <a:xfrm>
                <a:off x="4677650" y="1899903"/>
                <a:ext cx="90601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000" dirty="0"/>
                  <a:t>Development</a:t>
                </a:r>
              </a:p>
              <a:p>
                <a:pPr algn="ctr"/>
                <a:r>
                  <a:rPr lang="de-DE" sz="1000" dirty="0"/>
                  <a:t>Team</a:t>
                </a:r>
              </a:p>
            </p:txBody>
          </p: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4BCC224B-EFD7-220D-0D65-ADB847131E1A}"/>
                </a:ext>
              </a:extLst>
            </p:cNvPr>
            <p:cNvGrpSpPr/>
            <p:nvPr/>
          </p:nvGrpSpPr>
          <p:grpSpPr>
            <a:xfrm>
              <a:off x="8157579" y="3433338"/>
              <a:ext cx="925253" cy="891935"/>
              <a:chOff x="3398773" y="1581068"/>
              <a:chExt cx="925253" cy="891935"/>
            </a:xfrm>
          </p:grpSpPr>
          <p:pic>
            <p:nvPicPr>
              <p:cNvPr id="73" name="Graphic 72" descr="Group success with solid fill">
                <a:extLst>
                  <a:ext uri="{FF2B5EF4-FFF2-40B4-BE49-F238E27FC236}">
                    <a16:creationId xmlns:a16="http://schemas.microsoft.com/office/drawing/2014/main" id="{95CD9269-AF88-22F1-66F5-2FAE871D08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3642326" y="1581068"/>
                <a:ext cx="421640" cy="421640"/>
              </a:xfrm>
              <a:prstGeom prst="rect">
                <a:avLst/>
              </a:prstGeom>
            </p:spPr>
          </p:pic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6F7A6F46-0250-F9E7-9987-DED7B58FE963}"/>
                  </a:ext>
                </a:extLst>
              </p:cNvPr>
              <p:cNvSpPr txBox="1"/>
              <p:nvPr/>
            </p:nvSpPr>
            <p:spPr>
              <a:xfrm>
                <a:off x="3398773" y="1919005"/>
                <a:ext cx="925253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000" dirty="0"/>
                  <a:t>Sprint Review</a:t>
                </a:r>
              </a:p>
              <a:p>
                <a:pPr algn="ctr"/>
                <a:r>
                  <a:rPr lang="de-DE" sz="1000" dirty="0"/>
                  <a:t>+</a:t>
                </a:r>
              </a:p>
              <a:p>
                <a:pPr algn="ctr"/>
                <a:r>
                  <a:rPr lang="de-DE" sz="1000" dirty="0"/>
                  <a:t>Sprint Retro</a:t>
                </a:r>
              </a:p>
            </p:txBody>
          </p:sp>
        </p:grp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3DE24F3-D23D-FC38-BA7F-4CF4ACEB81B4}"/>
                </a:ext>
              </a:extLst>
            </p:cNvPr>
            <p:cNvSpPr txBox="1"/>
            <p:nvPr/>
          </p:nvSpPr>
          <p:spPr>
            <a:xfrm>
              <a:off x="7223172" y="1943041"/>
              <a:ext cx="532518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/>
                <a:t>Daily</a:t>
              </a:r>
            </a:p>
            <a:p>
              <a:pPr algn="ctr"/>
              <a:r>
                <a:rPr lang="de-DE" sz="1000" dirty="0" err="1"/>
                <a:t>Scrum</a:t>
              </a:r>
              <a:endParaRPr lang="de-DE" sz="1000" dirty="0"/>
            </a:p>
            <a:p>
              <a:pPr algn="ctr"/>
              <a:endParaRPr lang="de-DE" sz="1000" dirty="0"/>
            </a:p>
          </p:txBody>
        </p:sp>
      </p:grpSp>
      <p:sp>
        <p:nvSpPr>
          <p:cNvPr id="90" name="Content Placeholder 4">
            <a:extLst>
              <a:ext uri="{FF2B5EF4-FFF2-40B4-BE49-F238E27FC236}">
                <a16:creationId xmlns:a16="http://schemas.microsoft.com/office/drawing/2014/main" id="{3EC94CD5-57DF-7322-2E35-F0FAAA7703FD}"/>
              </a:ext>
            </a:extLst>
          </p:cNvPr>
          <p:cNvSpPr txBox="1">
            <a:spLocks/>
          </p:cNvSpPr>
          <p:nvPr/>
        </p:nvSpPr>
        <p:spPr>
          <a:xfrm>
            <a:off x="324000" y="1678506"/>
            <a:ext cx="4935469" cy="10253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3pPr>
            <a:lvl4pPr marL="719138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4pPr>
            <a:lvl5pPr marL="712788" indent="-1698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/>
              <a:t>Sprint Planning</a:t>
            </a:r>
            <a:r>
              <a:rPr lang="en-US" sz="1400" dirty="0"/>
              <a:t>: Team plans what work to complete in a time-boxed sprint (usually 2-4 weeks).</a:t>
            </a:r>
          </a:p>
          <a:p>
            <a:r>
              <a:rPr lang="en-US" sz="1400" b="1" dirty="0"/>
              <a:t>Daily Standup</a:t>
            </a:r>
            <a:r>
              <a:rPr lang="en-US" sz="1400" dirty="0"/>
              <a:t>: Short, daily meeting to track progress and address blockers.</a:t>
            </a:r>
          </a:p>
        </p:txBody>
      </p:sp>
      <p:sp>
        <p:nvSpPr>
          <p:cNvPr id="91" name="Content Placeholder 4">
            <a:extLst>
              <a:ext uri="{FF2B5EF4-FFF2-40B4-BE49-F238E27FC236}">
                <a16:creationId xmlns:a16="http://schemas.microsoft.com/office/drawing/2014/main" id="{C58B18F4-AA92-E342-A364-8E4D579B1C65}"/>
              </a:ext>
            </a:extLst>
          </p:cNvPr>
          <p:cNvSpPr txBox="1">
            <a:spLocks/>
          </p:cNvSpPr>
          <p:nvPr/>
        </p:nvSpPr>
        <p:spPr>
          <a:xfrm>
            <a:off x="316383" y="2703874"/>
            <a:ext cx="2424726" cy="1986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3pPr>
            <a:lvl4pPr marL="719138" indent="-17938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4pPr>
            <a:lvl5pPr marL="712788" indent="-169863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Source Sans Pro" panose="020B0503030403020204" pitchFamily="34" charset="0"/>
                <a:ea typeface="Source Sans Pro Light" charset="0"/>
                <a:cs typeface="Source Sans Pro Light" charset="0"/>
                <a:sym typeface="Source Sans Pro" panose="020B0503030403020204" pitchFamily="34" charset="0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/>
              <a:t>Sprint Review</a:t>
            </a:r>
            <a:r>
              <a:rPr lang="en-US" sz="1400" dirty="0"/>
              <a:t>: Review completed work with stakeholders and get feedback at the end of each sprint.</a:t>
            </a:r>
          </a:p>
          <a:p>
            <a:r>
              <a:rPr lang="en-US" sz="1400" b="1" dirty="0"/>
              <a:t>Retrospective</a:t>
            </a:r>
            <a:r>
              <a:rPr lang="en-US" sz="1400" dirty="0"/>
              <a:t>: Team reflects on the sprint and identifies areas for improvement.</a:t>
            </a:r>
          </a:p>
        </p:txBody>
      </p:sp>
    </p:spTree>
    <p:extLst>
      <p:ext uri="{BB962C8B-B14F-4D97-AF65-F5344CB8AC3E}">
        <p14:creationId xmlns:p14="http://schemas.microsoft.com/office/powerpoint/2010/main" val="960263469"/>
      </p:ext>
    </p:extLst>
  </p:cSld>
  <p:clrMapOvr>
    <a:masterClrMapping/>
  </p:clrMapOvr>
  <p:transition spd="slow" advClick="0"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 Item Track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F7166DB-3CAB-85A6-A257-745FE201DF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C3EFFE2-4211-4BF3-3A70-73079B3121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CF6BE3-927E-7DA6-145F-29E07A48A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2592621" cy="353978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Work Items</a:t>
            </a:r>
          </a:p>
          <a:p>
            <a:r>
              <a:rPr lang="en-US" dirty="0"/>
              <a:t>Assignee</a:t>
            </a:r>
          </a:p>
          <a:p>
            <a:r>
              <a:rPr lang="en-US" dirty="0"/>
              <a:t>State</a:t>
            </a:r>
          </a:p>
          <a:p>
            <a:r>
              <a:rPr lang="en-US" dirty="0"/>
              <a:t>Area/Iteration</a:t>
            </a:r>
          </a:p>
          <a:p>
            <a:r>
              <a:rPr lang="en-US" dirty="0"/>
              <a:t>Description/Discussion</a:t>
            </a:r>
          </a:p>
          <a:p>
            <a:r>
              <a:rPr lang="en-US" dirty="0"/>
              <a:t>Priority/Effort</a:t>
            </a:r>
          </a:p>
          <a:p>
            <a:r>
              <a:rPr lang="en-US" dirty="0"/>
              <a:t>Deployment/Development</a:t>
            </a:r>
          </a:p>
          <a:p>
            <a:r>
              <a:rPr lang="en-US" dirty="0"/>
              <a:t>Related Work: Parent/Child</a:t>
            </a:r>
          </a:p>
          <a:p>
            <a:pPr marL="0" indent="0">
              <a:buNone/>
            </a:pP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5</a:t>
            </a:fld>
            <a:endParaRPr lang="de-DE" dirty="0"/>
          </a:p>
        </p:txBody>
      </p:sp>
      <p:pic>
        <p:nvPicPr>
          <p:cNvPr id="12" name="Picture 11" descr="A green check mark and a green square&#10;&#10;Description automatically generated">
            <a:extLst>
              <a:ext uri="{FF2B5EF4-FFF2-40B4-BE49-F238E27FC236}">
                <a16:creationId xmlns:a16="http://schemas.microsoft.com/office/drawing/2014/main" id="{E0709C4A-6F97-13E8-B175-19BA4E47EC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5537" y="278370"/>
            <a:ext cx="442011" cy="442011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46540967-2DC8-9CE3-6405-0D1F44949B05}"/>
              </a:ext>
            </a:extLst>
          </p:cNvPr>
          <p:cNvGrpSpPr/>
          <p:nvPr/>
        </p:nvGrpSpPr>
        <p:grpSpPr>
          <a:xfrm>
            <a:off x="3008267" y="756916"/>
            <a:ext cx="5883733" cy="3667291"/>
            <a:chOff x="3172193" y="607528"/>
            <a:chExt cx="5883733" cy="366729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BBB08A6-552D-F09A-EBD8-B763048702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72193" y="607528"/>
              <a:ext cx="5883733" cy="3667291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FC30AAE-F01A-E140-6224-47B1BA4BDA4F}"/>
                </a:ext>
              </a:extLst>
            </p:cNvPr>
            <p:cNvSpPr/>
            <p:nvPr/>
          </p:nvSpPr>
          <p:spPr>
            <a:xfrm>
              <a:off x="4446150" y="1434861"/>
              <a:ext cx="2640450" cy="341263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9FB997E-26C0-5ECA-A296-BAC5CB849006}"/>
                </a:ext>
              </a:extLst>
            </p:cNvPr>
            <p:cNvSpPr/>
            <p:nvPr/>
          </p:nvSpPr>
          <p:spPr>
            <a:xfrm>
              <a:off x="7848599" y="1836765"/>
              <a:ext cx="1207327" cy="2438053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2A4B887-311C-4C98-2824-7DD5391B5F1C}"/>
                </a:ext>
              </a:extLst>
            </p:cNvPr>
            <p:cNvSpPr/>
            <p:nvPr/>
          </p:nvSpPr>
          <p:spPr>
            <a:xfrm>
              <a:off x="4446150" y="1833636"/>
              <a:ext cx="2640450" cy="2313681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373498B-3FBB-AFC7-FC98-C82739A9EDF7}"/>
                </a:ext>
              </a:extLst>
            </p:cNvPr>
            <p:cNvSpPr/>
            <p:nvPr/>
          </p:nvSpPr>
          <p:spPr>
            <a:xfrm>
              <a:off x="4517232" y="1202768"/>
              <a:ext cx="704849" cy="174581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755069757"/>
      </p:ext>
    </p:extLst>
  </p:cSld>
  <p:clrMapOvr>
    <a:masterClrMapping/>
  </p:clrMapOvr>
  <p:transition spd="slow" advClick="0"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 Item Track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538E478-65CE-4C72-EFA6-33DD2A5405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E57E215-E81B-8FCB-9203-3A96858ACC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CF6BE3-927E-7DA6-145F-29E07A48A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49"/>
            <a:ext cx="8568001" cy="1434413"/>
          </a:xfrm>
        </p:spPr>
        <p:txBody>
          <a:bodyPr numCol="2"/>
          <a:lstStyle/>
          <a:p>
            <a:pPr marL="0" indent="0">
              <a:buNone/>
            </a:pPr>
            <a:r>
              <a:rPr lang="en-US" b="1" dirty="0"/>
              <a:t>Sprints</a:t>
            </a:r>
          </a:p>
          <a:p>
            <a:r>
              <a:rPr lang="en-US" dirty="0"/>
              <a:t>Show all issues and tasks committed to the sprint</a:t>
            </a:r>
          </a:p>
          <a:p>
            <a:r>
              <a:rPr lang="en-US" dirty="0"/>
              <a:t>Tasks are put into columns “To Do”, “Doing” and “Done”</a:t>
            </a:r>
          </a:p>
          <a:p>
            <a:endParaRPr lang="en-US" dirty="0"/>
          </a:p>
          <a:p>
            <a:r>
              <a:rPr lang="en-US" dirty="0"/>
              <a:t>Lets you plan team capacity</a:t>
            </a:r>
          </a:p>
          <a:p>
            <a:r>
              <a:rPr lang="en-US" dirty="0"/>
              <a:t>Also shows analytics (Burndown Trend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6</a:t>
            </a:fld>
            <a:endParaRPr lang="de-DE" dirty="0"/>
          </a:p>
        </p:txBody>
      </p:sp>
      <p:pic>
        <p:nvPicPr>
          <p:cNvPr id="12" name="Picture 11" descr="A green check mark and a green square&#10;&#10;Description automatically generated">
            <a:extLst>
              <a:ext uri="{FF2B5EF4-FFF2-40B4-BE49-F238E27FC236}">
                <a16:creationId xmlns:a16="http://schemas.microsoft.com/office/drawing/2014/main" id="{E0709C4A-6F97-13E8-B175-19BA4E47EC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5537" y="278370"/>
            <a:ext cx="442011" cy="44201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18910D-6DDF-7EAE-3579-74745DE856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3865" y="2594373"/>
            <a:ext cx="6936270" cy="214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189988"/>
      </p:ext>
    </p:extLst>
  </p:cSld>
  <p:clrMapOvr>
    <a:masterClrMapping/>
  </p:clrMapOvr>
  <p:transition spd="slow" advClick="0"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 Item Track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F7166DB-3CAB-85A6-A257-745FE201DF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C3EFFE2-4211-4BF3-3A70-73079B3121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CF6BE3-927E-7DA6-145F-29E07A48A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060450"/>
            <a:ext cx="1796462" cy="353978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Backlogs</a:t>
            </a:r>
          </a:p>
          <a:p>
            <a:r>
              <a:rPr lang="en-US" dirty="0"/>
              <a:t>Allows for prioritization of epics, issues &amp; tasks</a:t>
            </a:r>
          </a:p>
          <a:p>
            <a:r>
              <a:rPr lang="en-US" dirty="0"/>
              <a:t>Helps with Sprint planning by offering simple Drag &amp; Drop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7</a:t>
            </a:fld>
            <a:endParaRPr lang="de-DE" dirty="0"/>
          </a:p>
        </p:txBody>
      </p:sp>
      <p:pic>
        <p:nvPicPr>
          <p:cNvPr id="12" name="Picture 11" descr="A green check mark and a green square&#10;&#10;Description automatically generated">
            <a:extLst>
              <a:ext uri="{FF2B5EF4-FFF2-40B4-BE49-F238E27FC236}">
                <a16:creationId xmlns:a16="http://schemas.microsoft.com/office/drawing/2014/main" id="{E0709C4A-6F97-13E8-B175-19BA4E47EC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5537" y="278370"/>
            <a:ext cx="442011" cy="44201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5791159-E8CB-8C6A-C72D-029D2D611C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2906" y="1399299"/>
            <a:ext cx="6659094" cy="2344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319718"/>
      </p:ext>
    </p:extLst>
  </p:cSld>
  <p:clrMapOvr>
    <a:masterClrMapping/>
  </p:clrMapOvr>
  <p:transition spd="slow" advClick="0"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AD3D6C00-6D6B-DBD7-3FA3-A4C5EBFA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b #5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9CC4F145-4BBD-311A-665F-07CFD22642C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866900" y="984250"/>
            <a:ext cx="5128886" cy="3868738"/>
          </a:xfrm>
        </p:spPr>
        <p:txBody>
          <a:bodyPr/>
          <a:lstStyle/>
          <a:p>
            <a:pPr marL="0" indent="0">
              <a:buNone/>
            </a:pPr>
            <a:r>
              <a:rPr lang="en-US" sz="1300" b="1" dirty="0">
                <a:sym typeface="Source Sans Pro" panose="020B0503030403020204" pitchFamily="34" charset="0"/>
              </a:rPr>
              <a:t>Azure DevOps</a:t>
            </a:r>
          </a:p>
          <a:p>
            <a:pPr marL="342900" indent="-342900">
              <a:buFont typeface="+mj-lt"/>
              <a:buAutoNum type="arabicPeriod"/>
            </a:pPr>
            <a:endParaRPr lang="en-US" sz="1300" dirty="0">
              <a:sym typeface="Source Sans Pro" panose="020B0503030403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reate an Epic in "Boards" &gt; "Backlogs."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reate an issue, assign it to yourself, and add it to the current sprin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reate a task under the issue and assign it to yourself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Set the task state to "Doing."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reate a branch from the task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heckout the branch and add a commi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reate a pull request (PR) for the branch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Have someone approve the PR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Merge the PR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lose the task and the issue.</a:t>
            </a:r>
            <a:endParaRPr lang="de-DE" sz="1300" dirty="0">
              <a:sym typeface="Source Sans Pro" panose="020B0503030403020204" pitchFamily="34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0930DF2-410C-F8A5-C371-8762B1F7DA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136B862-B171-9F00-E5F3-D6407E80F5A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7EED434-8FB5-4CA8-9A73-4C793E09A8F7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FDD664-5A87-8964-E7AF-C8918D078C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964E07-2F20-FA8C-1995-5AA8C86ED6F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8998846"/>
      </p:ext>
    </p:extLst>
  </p:cSld>
  <p:clrMapOvr>
    <a:masterClrMapping/>
  </p:clrMapOvr>
  <p:transition spd="slow" advClick="0"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AD3D6C00-6D6B-DBD7-3FA3-A4C5EBFA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b #5 (alternative)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9CC4F145-4BBD-311A-665F-07CFD22642C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866900" y="984250"/>
            <a:ext cx="5128886" cy="3868738"/>
          </a:xfrm>
        </p:spPr>
        <p:txBody>
          <a:bodyPr/>
          <a:lstStyle/>
          <a:p>
            <a:pPr marL="0" indent="0">
              <a:buNone/>
            </a:pPr>
            <a:r>
              <a:rPr lang="en-US" sz="1300" b="1" dirty="0">
                <a:sym typeface="Source Sans Pro" panose="020B0503030403020204" pitchFamily="34" charset="0"/>
              </a:rPr>
              <a:t>GitHub</a:t>
            </a:r>
          </a:p>
          <a:p>
            <a:pPr marL="342900" indent="-342900">
              <a:buFont typeface="+mj-lt"/>
              <a:buAutoNum type="arabicPeriod"/>
            </a:pPr>
            <a:endParaRPr lang="en-US" sz="1300" dirty="0">
              <a:sym typeface="Source Sans Pro" panose="020B0503030403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reate an issue and assign it to yourself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reate a branch from the issu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lone the repo at </a:t>
            </a:r>
            <a:r>
              <a:rPr lang="en-US" sz="1300" dirty="0">
                <a:sym typeface="Source Sans Pro" panose="020B0503030403020204" pitchFamily="34" charset="0"/>
                <a:hlinkClick r:id="rId3"/>
              </a:rPr>
              <a:t>https://github.itergo.com/E656422/git-workshop</a:t>
            </a:r>
            <a:endParaRPr lang="en-US" sz="1300" dirty="0">
              <a:sym typeface="Source Sans Pro" panose="020B0503030403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heckout the branch and add a commi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reate a pull request (PR) for the branch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Have someone approve the PR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Merge the PR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>
                <a:sym typeface="Source Sans Pro" panose="020B0503030403020204" pitchFamily="34" charset="0"/>
              </a:rPr>
              <a:t>Close the task and the issue.</a:t>
            </a:r>
            <a:endParaRPr lang="de-DE" sz="1300" dirty="0">
              <a:sym typeface="Source Sans Pro" panose="020B0503030403020204" pitchFamily="34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0930DF2-410C-F8A5-C371-8762B1F7DA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136B862-B171-9F00-E5F3-D6407E80F5A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7EED434-8FB5-4CA8-9A73-4C793E09A8F7}" type="datetime1">
              <a:rPr lang="de-DE" smtClean="0"/>
              <a:t>11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FDD664-5A87-8964-E7AF-C8918D078C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964E07-2F20-FA8C-1995-5AA8C86ED6F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43741"/>
      </p:ext>
    </p:extLst>
  </p:cSld>
  <p:clrMapOvr>
    <a:masterClrMapping/>
  </p:clrMapOvr>
  <p:transition spd="slow" advClick="0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FE7C4A-922B-7461-7DAB-FF5FA672B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Traditional VCS Wo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C8A95D-9330-3D0A-DD2C-CE97641D09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08A69F-4152-AAE0-A465-2AF87DFE28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662255-6FB8-4415-55C1-10D5E500FD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49D232B-5A17-6AC1-71D8-26DB9409C00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12B475C-9BE1-438E-B58F-ECBF36322D0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51FF89-84B4-80BD-152D-398D8C01113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2B5ADD-22E2-FAB9-7D62-226AA8C303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D56E6B-DA40-BAB1-5FA5-E4B4A584C011}"/>
              </a:ext>
            </a:extLst>
          </p:cNvPr>
          <p:cNvSpPr txBox="1"/>
          <p:nvPr/>
        </p:nvSpPr>
        <p:spPr>
          <a:xfrm>
            <a:off x="2026760" y="4015048"/>
            <a:ext cx="5233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toring data as changes to a base version of each file</a:t>
            </a:r>
            <a:endParaRPr lang="de-DE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3C37404-DE38-F2E7-2839-F10F6700410F}"/>
              </a:ext>
            </a:extLst>
          </p:cNvPr>
          <p:cNvGrpSpPr/>
          <p:nvPr/>
        </p:nvGrpSpPr>
        <p:grpSpPr>
          <a:xfrm>
            <a:off x="1355698" y="1052212"/>
            <a:ext cx="6600079" cy="2537973"/>
            <a:chOff x="1325880" y="716073"/>
            <a:chExt cx="6600079" cy="2537973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42BDC3E1-BDBE-CF87-C67E-207DF4C3B576}"/>
                </a:ext>
              </a:extLst>
            </p:cNvPr>
            <p:cNvCxnSpPr>
              <a:cxnSpLocks/>
            </p:cNvCxnSpPr>
            <p:nvPr/>
          </p:nvCxnSpPr>
          <p:spPr>
            <a:xfrm>
              <a:off x="1325880" y="1051560"/>
              <a:ext cx="6600079" cy="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95844B8-2A4B-6594-3A00-D432F539F736}"/>
                </a:ext>
              </a:extLst>
            </p:cNvPr>
            <p:cNvSpPr txBox="1"/>
            <p:nvPr/>
          </p:nvSpPr>
          <p:spPr>
            <a:xfrm>
              <a:off x="3737028" y="716073"/>
              <a:ext cx="166994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/>
                <a:t>Checkins</a:t>
              </a:r>
              <a:r>
                <a:rPr lang="de-DE" sz="1400" dirty="0"/>
                <a:t> Over Time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01E4702-C9CD-0BD6-7D14-6000F22AEBE6}"/>
                </a:ext>
              </a:extLst>
            </p:cNvPr>
            <p:cNvSpPr/>
            <p:nvPr/>
          </p:nvSpPr>
          <p:spPr>
            <a:xfrm>
              <a:off x="1325880" y="1256281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1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2CB044E-2EA5-C7D4-6023-351988FA171D}"/>
                </a:ext>
              </a:extLst>
            </p:cNvPr>
            <p:cNvSpPr/>
            <p:nvPr/>
          </p:nvSpPr>
          <p:spPr>
            <a:xfrm>
              <a:off x="2687131" y="1257770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2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751C3604-8CDA-BF3E-4D88-FB7A117C3C60}"/>
                </a:ext>
              </a:extLst>
            </p:cNvPr>
            <p:cNvSpPr/>
            <p:nvPr/>
          </p:nvSpPr>
          <p:spPr>
            <a:xfrm>
              <a:off x="4048382" y="1250419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3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3019B055-4901-B6CD-FFEB-FFE3D68E4D6A}"/>
                </a:ext>
              </a:extLst>
            </p:cNvPr>
            <p:cNvSpPr/>
            <p:nvPr/>
          </p:nvSpPr>
          <p:spPr>
            <a:xfrm>
              <a:off x="5409633" y="1250418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4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37E70E5D-71A9-FD0B-EA47-6C9620556B00}"/>
                </a:ext>
              </a:extLst>
            </p:cNvPr>
            <p:cNvSpPr/>
            <p:nvPr/>
          </p:nvSpPr>
          <p:spPr>
            <a:xfrm>
              <a:off x="6767719" y="1250417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5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1ED71C27-00ED-0B85-ECD7-E48E1ADD1618}"/>
                </a:ext>
              </a:extLst>
            </p:cNvPr>
            <p:cNvSpPr/>
            <p:nvPr/>
          </p:nvSpPr>
          <p:spPr>
            <a:xfrm>
              <a:off x="1325880" y="1966434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File A</a:t>
              </a: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6ECE6898-DBF5-25E2-43FB-70C3890C90B4}"/>
                </a:ext>
              </a:extLst>
            </p:cNvPr>
            <p:cNvSpPr/>
            <p:nvPr/>
          </p:nvSpPr>
          <p:spPr>
            <a:xfrm>
              <a:off x="2687131" y="1966434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1600" dirty="0"/>
                <a:t>Δ</a:t>
              </a:r>
              <a:r>
                <a:rPr lang="de-DE" sz="1600" dirty="0"/>
                <a:t>1</a:t>
              </a:r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ADB690A2-585F-E74E-91DC-D07AB4F1AA87}"/>
                </a:ext>
              </a:extLst>
            </p:cNvPr>
            <p:cNvCxnSpPr>
              <a:stCxn id="22" idx="3"/>
              <a:endCxn id="23" idx="1"/>
            </p:cNvCxnSpPr>
            <p:nvPr/>
          </p:nvCxnSpPr>
          <p:spPr>
            <a:xfrm>
              <a:off x="2484120" y="2122407"/>
              <a:ext cx="203011" cy="0"/>
            </a:xfrm>
            <a:prstGeom prst="straightConnector1">
              <a:avLst/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B1E1C3DF-AF53-FB0C-753E-50389CF60D1D}"/>
                </a:ext>
              </a:extLst>
            </p:cNvPr>
            <p:cNvSpPr/>
            <p:nvPr/>
          </p:nvSpPr>
          <p:spPr>
            <a:xfrm>
              <a:off x="5406972" y="1960665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1600" dirty="0"/>
                <a:t>Δ</a:t>
              </a:r>
              <a:r>
                <a:rPr lang="de-DE" sz="1600" dirty="0"/>
                <a:t>2</a:t>
              </a: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41BDC8C0-B179-33B0-54ED-624B74BD8722}"/>
                </a:ext>
              </a:extLst>
            </p:cNvPr>
            <p:cNvCxnSpPr>
              <a:cxnSpLocks/>
              <a:stCxn id="23" idx="3"/>
              <a:endCxn id="27" idx="1"/>
            </p:cNvCxnSpPr>
            <p:nvPr/>
          </p:nvCxnSpPr>
          <p:spPr>
            <a:xfrm flipV="1">
              <a:off x="3845371" y="2116638"/>
              <a:ext cx="1561601" cy="5769"/>
            </a:xfrm>
            <a:prstGeom prst="straightConnector1">
              <a:avLst/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25B1C25-0432-EA3A-465F-557896289035}"/>
                </a:ext>
              </a:extLst>
            </p:cNvPr>
            <p:cNvSpPr/>
            <p:nvPr/>
          </p:nvSpPr>
          <p:spPr>
            <a:xfrm>
              <a:off x="1328541" y="2454343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File B 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FC6FB2B1-865B-032F-96EB-CA33B06B6B45}"/>
                </a:ext>
              </a:extLst>
            </p:cNvPr>
            <p:cNvSpPr/>
            <p:nvPr/>
          </p:nvSpPr>
          <p:spPr>
            <a:xfrm>
              <a:off x="5409633" y="2454343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1600" dirty="0"/>
                <a:t>Δ</a:t>
              </a:r>
              <a:r>
                <a:rPr lang="de-DE" sz="1600" dirty="0"/>
                <a:t>1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4D5D0149-6CFD-FCE6-CEFB-BD808A172C22}"/>
                </a:ext>
              </a:extLst>
            </p:cNvPr>
            <p:cNvCxnSpPr>
              <a:stCxn id="32" idx="3"/>
              <a:endCxn id="33" idx="1"/>
            </p:cNvCxnSpPr>
            <p:nvPr/>
          </p:nvCxnSpPr>
          <p:spPr>
            <a:xfrm>
              <a:off x="2486781" y="2610316"/>
              <a:ext cx="2922852" cy="0"/>
            </a:xfrm>
            <a:prstGeom prst="straightConnector1">
              <a:avLst/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CE4819F6-C6D5-579D-0A1B-BDD7EC31D446}"/>
                </a:ext>
              </a:extLst>
            </p:cNvPr>
            <p:cNvSpPr/>
            <p:nvPr/>
          </p:nvSpPr>
          <p:spPr>
            <a:xfrm>
              <a:off x="6767719" y="2454343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1600" dirty="0"/>
                <a:t>Δ</a:t>
              </a:r>
              <a:r>
                <a:rPr lang="de-DE" sz="1600" dirty="0"/>
                <a:t>2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009F3D76-F24B-2FA9-CB73-8D7559747846}"/>
                </a:ext>
              </a:extLst>
            </p:cNvPr>
            <p:cNvCxnSpPr>
              <a:cxnSpLocks/>
              <a:stCxn id="33" idx="3"/>
              <a:endCxn id="35" idx="1"/>
            </p:cNvCxnSpPr>
            <p:nvPr/>
          </p:nvCxnSpPr>
          <p:spPr>
            <a:xfrm>
              <a:off x="6567873" y="2610316"/>
              <a:ext cx="199846" cy="0"/>
            </a:xfrm>
            <a:prstGeom prst="straightConnector1">
              <a:avLst/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1482385-9922-6E92-7B0E-30B2DF14C8E6}"/>
                </a:ext>
              </a:extLst>
            </p:cNvPr>
            <p:cNvSpPr/>
            <p:nvPr/>
          </p:nvSpPr>
          <p:spPr>
            <a:xfrm>
              <a:off x="1328541" y="2942101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File C 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7FD6A31-57B5-BD39-7501-61B7BCE2FB8C}"/>
                </a:ext>
              </a:extLst>
            </p:cNvPr>
            <p:cNvSpPr/>
            <p:nvPr/>
          </p:nvSpPr>
          <p:spPr>
            <a:xfrm>
              <a:off x="2687131" y="2942101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1600" dirty="0"/>
                <a:t>Δ</a:t>
              </a:r>
              <a:r>
                <a:rPr lang="de-DE" sz="1600" dirty="0"/>
                <a:t>1</a:t>
              </a: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68F471DB-BE48-18D2-8CE5-D058E052D1C6}"/>
                </a:ext>
              </a:extLst>
            </p:cNvPr>
            <p:cNvCxnSpPr>
              <a:stCxn id="40" idx="3"/>
              <a:endCxn id="41" idx="1"/>
            </p:cNvCxnSpPr>
            <p:nvPr/>
          </p:nvCxnSpPr>
          <p:spPr>
            <a:xfrm>
              <a:off x="2486781" y="3098074"/>
              <a:ext cx="200350" cy="0"/>
            </a:xfrm>
            <a:prstGeom prst="straightConnector1">
              <a:avLst/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6B4EF104-4497-9EC2-784F-5098B2907AB5}"/>
                </a:ext>
              </a:extLst>
            </p:cNvPr>
            <p:cNvSpPr/>
            <p:nvPr/>
          </p:nvSpPr>
          <p:spPr>
            <a:xfrm>
              <a:off x="4048382" y="2942101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1600" dirty="0"/>
                <a:t>Δ</a:t>
              </a:r>
              <a:r>
                <a:rPr lang="de-DE" sz="1600" dirty="0"/>
                <a:t>2</a:t>
              </a: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7485DB8D-8A52-0FE3-BBDF-2A676A5E447C}"/>
                </a:ext>
              </a:extLst>
            </p:cNvPr>
            <p:cNvCxnSpPr>
              <a:cxnSpLocks/>
              <a:stCxn id="41" idx="3"/>
              <a:endCxn id="43" idx="1"/>
            </p:cNvCxnSpPr>
            <p:nvPr/>
          </p:nvCxnSpPr>
          <p:spPr>
            <a:xfrm>
              <a:off x="3845371" y="3098074"/>
              <a:ext cx="203011" cy="0"/>
            </a:xfrm>
            <a:prstGeom prst="straightConnector1">
              <a:avLst/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F635D5B7-C6AE-E4A7-95D0-563EBB8AEA75}"/>
                </a:ext>
              </a:extLst>
            </p:cNvPr>
            <p:cNvSpPr/>
            <p:nvPr/>
          </p:nvSpPr>
          <p:spPr>
            <a:xfrm>
              <a:off x="6767719" y="2942100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1600" dirty="0"/>
                <a:t>Δ</a:t>
              </a:r>
              <a:r>
                <a:rPr lang="de-DE" sz="1600" dirty="0"/>
                <a:t>3</a:t>
              </a: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902988F7-D7BE-87B9-5CAD-82DF55ED6FB2}"/>
                </a:ext>
              </a:extLst>
            </p:cNvPr>
            <p:cNvCxnSpPr>
              <a:cxnSpLocks/>
              <a:stCxn id="43" idx="3"/>
              <a:endCxn id="48" idx="1"/>
            </p:cNvCxnSpPr>
            <p:nvPr/>
          </p:nvCxnSpPr>
          <p:spPr>
            <a:xfrm flipV="1">
              <a:off x="5206622" y="3098073"/>
              <a:ext cx="1561097" cy="1"/>
            </a:xfrm>
            <a:prstGeom prst="straightConnector1">
              <a:avLst/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90325683"/>
      </p:ext>
    </p:extLst>
  </p:cSld>
  <p:clrMapOvr>
    <a:masterClrMapping/>
  </p:clrMapOvr>
  <p:transition spd="slow" advClick="0">
    <p:fade/>
  </p:transition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/CD Pipelin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F7166DB-3CAB-85A6-A257-745FE201DF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C3EFFE2-4211-4BF3-3A70-73079B3121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CF6BE3-927E-7DA6-145F-29E07A48A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8496001" cy="3539788"/>
          </a:xfrm>
        </p:spPr>
        <p:txBody>
          <a:bodyPr/>
          <a:lstStyle/>
          <a:p>
            <a:r>
              <a:rPr lang="en-US" b="1" dirty="0"/>
              <a:t>Automated CI/CD</a:t>
            </a:r>
            <a:br>
              <a:rPr lang="en-US" dirty="0"/>
            </a:br>
            <a:r>
              <a:rPr lang="en-US" dirty="0"/>
              <a:t>Build, test, and deploy code automatically with continuous integration and continuous delivery pipelines.</a:t>
            </a:r>
          </a:p>
          <a:p>
            <a:r>
              <a:rPr lang="en-US" b="1" dirty="0"/>
              <a:t>Multi-platform Support</a:t>
            </a:r>
            <a:br>
              <a:rPr lang="en-US" dirty="0"/>
            </a:br>
            <a:r>
              <a:rPr lang="en-US" dirty="0"/>
              <a:t>Run pipelines for any language or platform (Windows, Linux, macOS) with flexible environments.</a:t>
            </a:r>
          </a:p>
          <a:p>
            <a:r>
              <a:rPr lang="en-US" b="1" dirty="0"/>
              <a:t>Customizable Workflows</a:t>
            </a:r>
            <a:br>
              <a:rPr lang="en-US" b="1" dirty="0"/>
            </a:br>
            <a:r>
              <a:rPr lang="en-US" dirty="0"/>
              <a:t>Define tailored workflows using YAML or the visual editor to fit your project's needs.</a:t>
            </a:r>
          </a:p>
          <a:p>
            <a:r>
              <a:rPr lang="en-US" b="1" dirty="0"/>
              <a:t>Parallel &amp; Fast Builds</a:t>
            </a:r>
            <a:br>
              <a:rPr lang="en-US" b="1" dirty="0"/>
            </a:br>
            <a:r>
              <a:rPr lang="en-US" dirty="0"/>
              <a:t>Speed up builds with parallel job execution and distributed agents.</a:t>
            </a:r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0</a:t>
            </a:fld>
            <a:endParaRPr lang="de-DE" dirty="0"/>
          </a:p>
        </p:txBody>
      </p:sp>
      <p:pic>
        <p:nvPicPr>
          <p:cNvPr id="4" name="Picture 3" descr="A blue object with a black background&#10;&#10;Description automatically generated">
            <a:extLst>
              <a:ext uri="{FF2B5EF4-FFF2-40B4-BE49-F238E27FC236}">
                <a16:creationId xmlns:a16="http://schemas.microsoft.com/office/drawing/2014/main" id="{04FB4568-30F1-4FD8-4AC0-1B35FB997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462" y="215783"/>
            <a:ext cx="442010" cy="44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378801"/>
      </p:ext>
    </p:extLst>
  </p:cSld>
  <p:clrMapOvr>
    <a:masterClrMapping/>
  </p:clrMapOvr>
  <p:transition spd="slow" advClick="0"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/CD Pipelin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F7166DB-3CAB-85A6-A257-745FE201DF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C3EFFE2-4211-4BF3-3A70-73079B3121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1</a:t>
            </a:fld>
            <a:endParaRPr lang="de-DE" dirty="0"/>
          </a:p>
        </p:txBody>
      </p:sp>
      <p:pic>
        <p:nvPicPr>
          <p:cNvPr id="4" name="Picture 3" descr="A blue object with a black background&#10;&#10;Description automatically generated">
            <a:extLst>
              <a:ext uri="{FF2B5EF4-FFF2-40B4-BE49-F238E27FC236}">
                <a16:creationId xmlns:a16="http://schemas.microsoft.com/office/drawing/2014/main" id="{04FB4568-30F1-4FD8-4AC0-1B35FB997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462" y="215783"/>
            <a:ext cx="442010" cy="442010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788C74C1-E94B-22CE-5163-49CD7B95D242}"/>
              </a:ext>
            </a:extLst>
          </p:cNvPr>
          <p:cNvGrpSpPr/>
          <p:nvPr/>
        </p:nvGrpSpPr>
        <p:grpSpPr>
          <a:xfrm>
            <a:off x="134250" y="1020216"/>
            <a:ext cx="8588172" cy="3288435"/>
            <a:chOff x="134250" y="1020216"/>
            <a:chExt cx="8588172" cy="328843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8D78039-3276-0EDC-2273-7F0275C04E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1578" y="1020216"/>
              <a:ext cx="8300844" cy="3103067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C027602-E975-DF84-B5F4-A6386E6500B7}"/>
                </a:ext>
              </a:extLst>
            </p:cNvPr>
            <p:cNvSpPr/>
            <p:nvPr/>
          </p:nvSpPr>
          <p:spPr>
            <a:xfrm>
              <a:off x="2086807" y="1964162"/>
              <a:ext cx="6048199" cy="341263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C8F54DF-49F3-56A7-55FB-BFB50F6CC0D1}"/>
                </a:ext>
              </a:extLst>
            </p:cNvPr>
            <p:cNvSpPr/>
            <p:nvPr/>
          </p:nvSpPr>
          <p:spPr>
            <a:xfrm>
              <a:off x="421578" y="2078667"/>
              <a:ext cx="1077813" cy="1373982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" name="Callout: Line 19">
              <a:extLst>
                <a:ext uri="{FF2B5EF4-FFF2-40B4-BE49-F238E27FC236}">
                  <a16:creationId xmlns:a16="http://schemas.microsoft.com/office/drawing/2014/main" id="{F719A593-B8E0-8419-E105-09E20FFB74F8}"/>
                </a:ext>
              </a:extLst>
            </p:cNvPr>
            <p:cNvSpPr/>
            <p:nvPr/>
          </p:nvSpPr>
          <p:spPr>
            <a:xfrm>
              <a:off x="4903883" y="1257749"/>
              <a:ext cx="1174531" cy="267584"/>
            </a:xfrm>
            <a:prstGeom prst="borderCallout1">
              <a:avLst>
                <a:gd name="adj1" fmla="val 98290"/>
                <a:gd name="adj2" fmla="val 13814"/>
                <a:gd name="adj3" fmla="val 259795"/>
                <a:gd name="adj4" fmla="val -37661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Pipeline Ru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6A90F25-5C85-8BDF-FCD2-C80A7EA57D43}"/>
                </a:ext>
              </a:extLst>
            </p:cNvPr>
            <p:cNvSpPr/>
            <p:nvPr/>
          </p:nvSpPr>
          <p:spPr>
            <a:xfrm>
              <a:off x="432644" y="2571749"/>
              <a:ext cx="1066747" cy="210865"/>
            </a:xfrm>
            <a:prstGeom prst="rect">
              <a:avLst/>
            </a:prstGeom>
            <a:solidFill>
              <a:srgbClr val="93140A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9A1BBC8-F6B5-2AD7-5FF1-436B677531D9}"/>
                </a:ext>
              </a:extLst>
            </p:cNvPr>
            <p:cNvSpPr/>
            <p:nvPr/>
          </p:nvSpPr>
          <p:spPr>
            <a:xfrm>
              <a:off x="421578" y="2994175"/>
              <a:ext cx="1066747" cy="458473"/>
            </a:xfrm>
            <a:prstGeom prst="rect">
              <a:avLst/>
            </a:prstGeom>
            <a:solidFill>
              <a:srgbClr val="93140A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" name="Callout: Line 22">
              <a:extLst>
                <a:ext uri="{FF2B5EF4-FFF2-40B4-BE49-F238E27FC236}">
                  <a16:creationId xmlns:a16="http://schemas.microsoft.com/office/drawing/2014/main" id="{60DF4D6F-B011-EFCC-ACF3-3E04A279026E}"/>
                </a:ext>
              </a:extLst>
            </p:cNvPr>
            <p:cNvSpPr/>
            <p:nvPr/>
          </p:nvSpPr>
          <p:spPr>
            <a:xfrm>
              <a:off x="134250" y="1056167"/>
              <a:ext cx="1365141" cy="458473"/>
            </a:xfrm>
            <a:prstGeom prst="borderCallout1">
              <a:avLst>
                <a:gd name="adj1" fmla="val 100305"/>
                <a:gd name="adj2" fmla="val 67938"/>
                <a:gd name="adj3" fmla="val 224421"/>
                <a:gd name="adj4" fmla="val 79333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YAML Pipelines Features</a:t>
              </a:r>
            </a:p>
          </p:txBody>
        </p:sp>
        <p:sp>
          <p:nvSpPr>
            <p:cNvPr id="24" name="Callout: Line 23">
              <a:extLst>
                <a:ext uri="{FF2B5EF4-FFF2-40B4-BE49-F238E27FC236}">
                  <a16:creationId xmlns:a16="http://schemas.microsoft.com/office/drawing/2014/main" id="{EFA38E59-7C43-4558-E5FF-9B502D0EBBE6}"/>
                </a:ext>
              </a:extLst>
            </p:cNvPr>
            <p:cNvSpPr/>
            <p:nvPr/>
          </p:nvSpPr>
          <p:spPr>
            <a:xfrm>
              <a:off x="134250" y="3850178"/>
              <a:ext cx="1449290" cy="458473"/>
            </a:xfrm>
            <a:prstGeom prst="borderCallout1">
              <a:avLst>
                <a:gd name="adj1" fmla="val -1137"/>
                <a:gd name="adj2" fmla="val 45094"/>
                <a:gd name="adj3" fmla="val -83343"/>
                <a:gd name="adj4" fmla="val 57577"/>
              </a:avLst>
            </a:prstGeom>
            <a:solidFill>
              <a:schemeClr val="accent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Classic Pipelines Featu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0009705"/>
      </p:ext>
    </p:extLst>
  </p:cSld>
  <p:clrMapOvr>
    <a:masterClrMapping/>
  </p:clrMapOvr>
  <p:transition spd="slow" advClick="0"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/CD Pipelin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2C4829-FAF2-1BEE-11CC-962AD3CB87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158A23-861E-674B-1B06-21C1C11F8F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003206-BE47-12E6-E86C-ACA704F0AD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060450"/>
            <a:ext cx="4027774" cy="353978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Pipeline Run</a:t>
            </a:r>
          </a:p>
          <a:p>
            <a:r>
              <a:rPr lang="de-DE" dirty="0"/>
              <a:t>Shows </a:t>
            </a:r>
            <a:r>
              <a:rPr lang="de-DE" dirty="0" err="1"/>
              <a:t>repository</a:t>
            </a:r>
            <a:r>
              <a:rPr lang="de-DE" dirty="0"/>
              <a:t>, </a:t>
            </a:r>
            <a:r>
              <a:rPr lang="de-DE" dirty="0" err="1"/>
              <a:t>branch</a:t>
            </a:r>
            <a:r>
              <a:rPr lang="de-DE" dirty="0"/>
              <a:t>, and </a:t>
            </a:r>
            <a:r>
              <a:rPr lang="de-DE" dirty="0" err="1"/>
              <a:t>commit</a:t>
            </a:r>
            <a:endParaRPr lang="de-DE" dirty="0"/>
          </a:p>
          <a:p>
            <a:r>
              <a:rPr lang="de-DE" dirty="0"/>
              <a:t>Also </a:t>
            </a:r>
            <a:r>
              <a:rPr lang="de-DE" dirty="0" err="1"/>
              <a:t>displays</a:t>
            </a:r>
            <a:r>
              <a:rPr lang="de-DE" dirty="0"/>
              <a:t> </a:t>
            </a:r>
            <a:r>
              <a:rPr lang="de-DE" dirty="0" err="1"/>
              <a:t>run</a:t>
            </a:r>
            <a:r>
              <a:rPr lang="de-DE" dirty="0"/>
              <a:t> date and </a:t>
            </a:r>
            <a:r>
              <a:rPr lang="de-DE" dirty="0" err="1"/>
              <a:t>duration</a:t>
            </a:r>
            <a:endParaRPr lang="de-DE" dirty="0"/>
          </a:p>
          <a:p>
            <a:r>
              <a:rPr lang="de-DE" dirty="0"/>
              <a:t>Pipelines </a:t>
            </a:r>
            <a:r>
              <a:rPr lang="de-DE" dirty="0" err="1"/>
              <a:t>can</a:t>
            </a:r>
            <a:r>
              <a:rPr lang="de-DE" dirty="0"/>
              <a:t> publish </a:t>
            </a:r>
            <a:r>
              <a:rPr lang="de-DE" dirty="0" err="1"/>
              <a:t>artifacts</a:t>
            </a:r>
            <a:endParaRPr lang="de-DE" dirty="0"/>
          </a:p>
          <a:p>
            <a:r>
              <a:rPr lang="de-DE" dirty="0"/>
              <a:t>Triggers </a:t>
            </a:r>
            <a:r>
              <a:rPr lang="de-DE" dirty="0" err="1"/>
              <a:t>start</a:t>
            </a:r>
            <a:r>
              <a:rPr lang="de-DE" dirty="0"/>
              <a:t> </a:t>
            </a:r>
            <a:r>
              <a:rPr lang="de-DE" dirty="0" err="1"/>
              <a:t>pipelines</a:t>
            </a:r>
            <a:endParaRPr lang="de-DE" dirty="0"/>
          </a:p>
          <a:p>
            <a:r>
              <a:rPr lang="de-DE" dirty="0"/>
              <a:t>Pipeline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plit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stages</a:t>
            </a:r>
            <a:endParaRPr lang="de-DE" dirty="0"/>
          </a:p>
          <a:p>
            <a:r>
              <a:rPr lang="de-DE" dirty="0"/>
              <a:t>Stages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jobs</a:t>
            </a:r>
            <a:r>
              <a:rPr lang="de-DE" dirty="0"/>
              <a:t> and </a:t>
            </a:r>
            <a:r>
              <a:rPr lang="de-DE" dirty="0" err="1"/>
              <a:t>jobs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steps</a:t>
            </a:r>
            <a:endParaRPr lang="de-DE" dirty="0"/>
          </a:p>
          <a:p>
            <a:r>
              <a:rPr lang="de-DE" dirty="0"/>
              <a:t>Stages and </a:t>
            </a:r>
            <a:r>
              <a:rPr lang="de-DE" dirty="0" err="1"/>
              <a:t>job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depend</a:t>
            </a:r>
            <a:r>
              <a:rPr lang="de-DE" dirty="0"/>
              <a:t> on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stages</a:t>
            </a:r>
            <a:r>
              <a:rPr lang="de-DE" dirty="0"/>
              <a:t> and </a:t>
            </a:r>
            <a:r>
              <a:rPr lang="de-DE" dirty="0" err="1"/>
              <a:t>jobs</a:t>
            </a:r>
            <a:endParaRPr lang="de-DE" dirty="0"/>
          </a:p>
          <a:p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job</a:t>
            </a:r>
            <a:r>
              <a:rPr lang="de-DE" dirty="0"/>
              <a:t> </a:t>
            </a:r>
            <a:r>
              <a:rPr lang="de-DE" dirty="0" err="1"/>
              <a:t>runs</a:t>
            </a:r>
            <a:r>
              <a:rPr lang="de-DE" dirty="0"/>
              <a:t> on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agent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2</a:t>
            </a:fld>
            <a:endParaRPr lang="de-DE" dirty="0"/>
          </a:p>
        </p:txBody>
      </p:sp>
      <p:pic>
        <p:nvPicPr>
          <p:cNvPr id="4" name="Picture 3" descr="A blue object with a black background&#10;&#10;Description automatically generated">
            <a:extLst>
              <a:ext uri="{FF2B5EF4-FFF2-40B4-BE49-F238E27FC236}">
                <a16:creationId xmlns:a16="http://schemas.microsoft.com/office/drawing/2014/main" id="{04FB4568-30F1-4FD8-4AC0-1B35FB997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462" y="215783"/>
            <a:ext cx="442010" cy="442010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65B8683E-B03E-3813-6198-3D58A1EC914F}"/>
              </a:ext>
            </a:extLst>
          </p:cNvPr>
          <p:cNvGrpSpPr/>
          <p:nvPr/>
        </p:nvGrpSpPr>
        <p:grpSpPr>
          <a:xfrm>
            <a:off x="4423211" y="692519"/>
            <a:ext cx="4605022" cy="4087718"/>
            <a:chOff x="4423211" y="692519"/>
            <a:chExt cx="4605022" cy="4087718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95DAF6CB-C9E3-3D31-46FD-81F663D484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3211" y="692519"/>
              <a:ext cx="4605022" cy="4087718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13ADDE9-D727-6F40-AEF7-61C6505D382D}"/>
                </a:ext>
              </a:extLst>
            </p:cNvPr>
            <p:cNvSpPr/>
            <p:nvPr/>
          </p:nvSpPr>
          <p:spPr>
            <a:xfrm>
              <a:off x="4572000" y="2009776"/>
              <a:ext cx="4171950" cy="385762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075AD0A-1102-227E-E243-EBB9169C6E1D}"/>
                </a:ext>
              </a:extLst>
            </p:cNvPr>
            <p:cNvSpPr/>
            <p:nvPr/>
          </p:nvSpPr>
          <p:spPr>
            <a:xfrm>
              <a:off x="4572000" y="2938293"/>
              <a:ext cx="3471863" cy="1719431"/>
            </a:xfrm>
            <a:prstGeom prst="rect">
              <a:avLst/>
            </a:prstGeom>
            <a:solidFill>
              <a:srgbClr val="69B030">
                <a:alpha val="2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543268867"/>
      </p:ext>
    </p:extLst>
  </p:cSld>
  <p:clrMapOvr>
    <a:masterClrMapping/>
  </p:clrMapOvr>
  <p:transition spd="slow" advClick="0"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/CD Pipelin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7E0AA41-2C85-583F-5417-7A000C91B6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BEFD471-80B0-A847-DC92-3E3CF1C5F7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6BDBD1DC-B644-16E6-B7A9-475F7B2C58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Key </a:t>
            </a:r>
            <a:r>
              <a:rPr lang="de-DE" b="1" dirty="0" err="1"/>
              <a:t>Concepts</a:t>
            </a:r>
            <a:endParaRPr lang="de-DE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10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3</a:t>
            </a:fld>
            <a:endParaRPr lang="de-DE" dirty="0"/>
          </a:p>
        </p:txBody>
      </p:sp>
      <p:pic>
        <p:nvPicPr>
          <p:cNvPr id="4" name="Picture 3" descr="A blue object with a black background&#10;&#10;Description automatically generated">
            <a:extLst>
              <a:ext uri="{FF2B5EF4-FFF2-40B4-BE49-F238E27FC236}">
                <a16:creationId xmlns:a16="http://schemas.microsoft.com/office/drawing/2014/main" id="{04FB4568-30F1-4FD8-4AC0-1B35FB997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462" y="215783"/>
            <a:ext cx="442010" cy="442010"/>
          </a:xfrm>
          <a:prstGeom prst="rect">
            <a:avLst/>
          </a:prstGeom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FDDC4CB3-8AA8-A238-A13A-DA975E3E3558}"/>
              </a:ext>
            </a:extLst>
          </p:cNvPr>
          <p:cNvGrpSpPr/>
          <p:nvPr/>
        </p:nvGrpSpPr>
        <p:grpSpPr>
          <a:xfrm>
            <a:off x="1003613" y="1862301"/>
            <a:ext cx="6927223" cy="2229971"/>
            <a:chOff x="1484537" y="1390920"/>
            <a:chExt cx="6927223" cy="222997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730E71A-8E57-7C39-E439-C8DC6874F461}"/>
                </a:ext>
              </a:extLst>
            </p:cNvPr>
            <p:cNvSpPr/>
            <p:nvPr/>
          </p:nvSpPr>
          <p:spPr>
            <a:xfrm>
              <a:off x="4059736" y="1393671"/>
              <a:ext cx="1024528" cy="2227220"/>
            </a:xfrm>
            <a:prstGeom prst="rect">
              <a:avLst/>
            </a:prstGeom>
            <a:solidFill>
              <a:srgbClr val="A0C8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" name="Flowchart: Connector 22">
              <a:extLst>
                <a:ext uri="{FF2B5EF4-FFF2-40B4-BE49-F238E27FC236}">
                  <a16:creationId xmlns:a16="http://schemas.microsoft.com/office/drawing/2014/main" id="{29058678-6698-DFFA-EF9A-D01E11CCC0A4}"/>
                </a:ext>
              </a:extLst>
            </p:cNvPr>
            <p:cNvSpPr/>
            <p:nvPr/>
          </p:nvSpPr>
          <p:spPr>
            <a:xfrm>
              <a:off x="2235682" y="1756516"/>
              <a:ext cx="211569" cy="211569"/>
            </a:xfrm>
            <a:prstGeom prst="flowChartConnector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C977622-FB81-4766-9862-9CB685ED816E}"/>
                </a:ext>
              </a:extLst>
            </p:cNvPr>
            <p:cNvSpPr txBox="1"/>
            <p:nvPr/>
          </p:nvSpPr>
          <p:spPr>
            <a:xfrm>
              <a:off x="1484537" y="1708411"/>
              <a:ext cx="75114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/>
                <a:t>Trigger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517EF3E-2218-1E26-0014-FE0290D6BDFF}"/>
                </a:ext>
              </a:extLst>
            </p:cNvPr>
            <p:cNvSpPr/>
            <p:nvPr/>
          </p:nvSpPr>
          <p:spPr>
            <a:xfrm>
              <a:off x="2716502" y="1390920"/>
              <a:ext cx="1024528" cy="1321307"/>
            </a:xfrm>
            <a:prstGeom prst="rect">
              <a:avLst/>
            </a:prstGeom>
            <a:solidFill>
              <a:srgbClr val="A0C8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87482E7-AF95-3C8E-A29F-AC02B5D840D7}"/>
                </a:ext>
              </a:extLst>
            </p:cNvPr>
            <p:cNvSpPr txBox="1"/>
            <p:nvPr/>
          </p:nvSpPr>
          <p:spPr>
            <a:xfrm>
              <a:off x="2802490" y="1396967"/>
              <a:ext cx="8525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/>
                <a:t>Pipeline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77A6139-88B4-BD70-B243-1E203812A220}"/>
                </a:ext>
              </a:extLst>
            </p:cNvPr>
            <p:cNvSpPr/>
            <p:nvPr/>
          </p:nvSpPr>
          <p:spPr>
            <a:xfrm>
              <a:off x="2802490" y="1750488"/>
              <a:ext cx="852551" cy="223626"/>
            </a:xfrm>
            <a:prstGeom prst="rect">
              <a:avLst/>
            </a:prstGeom>
            <a:solidFill>
              <a:srgbClr val="E2E2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Stage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408D943-8BBF-5351-3A79-4614D5C1D3A2}"/>
                </a:ext>
              </a:extLst>
            </p:cNvPr>
            <p:cNvSpPr/>
            <p:nvPr/>
          </p:nvSpPr>
          <p:spPr>
            <a:xfrm>
              <a:off x="2802490" y="2054325"/>
              <a:ext cx="852551" cy="223626"/>
            </a:xfrm>
            <a:prstGeom prst="rect">
              <a:avLst/>
            </a:prstGeom>
            <a:solidFill>
              <a:srgbClr val="E2E2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Stag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FF5A65F-8FBB-C99F-AE8E-CE51E2A6B1A6}"/>
                </a:ext>
              </a:extLst>
            </p:cNvPr>
            <p:cNvSpPr/>
            <p:nvPr/>
          </p:nvSpPr>
          <p:spPr>
            <a:xfrm>
              <a:off x="2802489" y="2361608"/>
              <a:ext cx="852551" cy="223626"/>
            </a:xfrm>
            <a:prstGeom prst="rect">
              <a:avLst/>
            </a:prstGeom>
            <a:solidFill>
              <a:srgbClr val="E2E2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Stage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395E52A-CCDC-D5C8-610F-5AEC25B5B294}"/>
                </a:ext>
              </a:extLst>
            </p:cNvPr>
            <p:cNvSpPr txBox="1"/>
            <p:nvPr/>
          </p:nvSpPr>
          <p:spPr>
            <a:xfrm>
              <a:off x="4145724" y="1399718"/>
              <a:ext cx="8525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/>
                <a:t>Stage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E7D6605-D996-4F6A-52F8-C55CAA91605C}"/>
                </a:ext>
              </a:extLst>
            </p:cNvPr>
            <p:cNvGrpSpPr/>
            <p:nvPr/>
          </p:nvGrpSpPr>
          <p:grpSpPr>
            <a:xfrm>
              <a:off x="4111463" y="1748912"/>
              <a:ext cx="924411" cy="570459"/>
              <a:chOff x="4111463" y="1748912"/>
              <a:chExt cx="924411" cy="570459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07D949D4-973A-D268-ECB6-2BFBB012771E}"/>
                  </a:ext>
                </a:extLst>
              </p:cNvPr>
              <p:cNvGrpSpPr/>
              <p:nvPr/>
            </p:nvGrpSpPr>
            <p:grpSpPr>
              <a:xfrm>
                <a:off x="4111463" y="1748912"/>
                <a:ext cx="924411" cy="570459"/>
                <a:chOff x="5735766" y="2663620"/>
                <a:chExt cx="924411" cy="515108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EE46F733-0508-4E10-F5CF-41617A81D595}"/>
                    </a:ext>
                  </a:extLst>
                </p:cNvPr>
                <p:cNvSpPr/>
                <p:nvPr/>
              </p:nvSpPr>
              <p:spPr>
                <a:xfrm>
                  <a:off x="5735766" y="2663620"/>
                  <a:ext cx="924411" cy="51510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3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AA37F13F-772E-1D4B-1C92-44389F43BAB3}"/>
                    </a:ext>
                  </a:extLst>
                </p:cNvPr>
                <p:cNvSpPr txBox="1"/>
                <p:nvPr/>
              </p:nvSpPr>
              <p:spPr>
                <a:xfrm>
                  <a:off x="5820726" y="2673539"/>
                  <a:ext cx="751145" cy="29238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300" dirty="0"/>
                    <a:t>     Agent</a:t>
                  </a:r>
                </a:p>
              </p:txBody>
            </p:sp>
            <p:pic>
              <p:nvPicPr>
                <p:cNvPr id="38" name="Graphic 37" descr="Server outline">
                  <a:extLst>
                    <a:ext uri="{FF2B5EF4-FFF2-40B4-BE49-F238E27FC236}">
                      <a16:creationId xmlns:a16="http://schemas.microsoft.com/office/drawing/2014/main" id="{37DEA24F-7B46-F349-A813-BAE9AC143C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57433" y="2733888"/>
                  <a:ext cx="183506" cy="183506"/>
                </a:xfrm>
                <a:prstGeom prst="rect">
                  <a:avLst/>
                </a:prstGeom>
              </p:spPr>
            </p:pic>
          </p:grp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F2B8DEA-17FA-0BBD-BAB5-B9B48CCEB39F}"/>
                  </a:ext>
                </a:extLst>
              </p:cNvPr>
              <p:cNvSpPr/>
              <p:nvPr/>
            </p:nvSpPr>
            <p:spPr>
              <a:xfrm>
                <a:off x="4145719" y="2041117"/>
                <a:ext cx="852551" cy="223626"/>
              </a:xfrm>
              <a:prstGeom prst="rect">
                <a:avLst/>
              </a:prstGeom>
              <a:solidFill>
                <a:srgbClr val="E2E2E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300" dirty="0">
                    <a:solidFill>
                      <a:schemeClr val="tx1"/>
                    </a:solidFill>
                  </a:rPr>
                  <a:t>Job</a:t>
                </a:r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F5532C6-9F92-763D-EC43-69D505AE25D8}"/>
                </a:ext>
              </a:extLst>
            </p:cNvPr>
            <p:cNvSpPr/>
            <p:nvPr/>
          </p:nvSpPr>
          <p:spPr>
            <a:xfrm>
              <a:off x="4145722" y="2361608"/>
              <a:ext cx="852551" cy="223626"/>
            </a:xfrm>
            <a:prstGeom prst="rect">
              <a:avLst/>
            </a:prstGeom>
            <a:solidFill>
              <a:srgbClr val="E2E2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>
                  <a:solidFill>
                    <a:schemeClr val="tx1"/>
                  </a:solidFill>
                </a:rPr>
                <a:t>Job</a:t>
              </a: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C6DF3BCD-C53A-BF7F-D7AB-8CA6A3C0B32E}"/>
                </a:ext>
              </a:extLst>
            </p:cNvPr>
            <p:cNvCxnSpPr>
              <a:cxnSpLocks/>
              <a:stCxn id="23" idx="6"/>
            </p:cNvCxnSpPr>
            <p:nvPr/>
          </p:nvCxnSpPr>
          <p:spPr>
            <a:xfrm>
              <a:off x="2447251" y="1862301"/>
              <a:ext cx="269251" cy="0"/>
            </a:xfrm>
            <a:prstGeom prst="straightConnector1">
              <a:avLst/>
            </a:prstGeom>
            <a:ln>
              <a:tailEnd type="stealt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109F6D6B-D116-6F47-2E07-5C93F26CCF6C}"/>
                </a:ext>
              </a:extLst>
            </p:cNvPr>
            <p:cNvCxnSpPr>
              <a:cxnSpLocks/>
              <a:stCxn id="28" idx="3"/>
            </p:cNvCxnSpPr>
            <p:nvPr/>
          </p:nvCxnSpPr>
          <p:spPr>
            <a:xfrm>
              <a:off x="3655041" y="1862301"/>
              <a:ext cx="408032" cy="0"/>
            </a:xfrm>
            <a:prstGeom prst="straightConnector1">
              <a:avLst/>
            </a:prstGeom>
            <a:ln>
              <a:tailEnd type="stealt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6A7EB48-D7C8-7738-C228-C21878FDCE4A}"/>
                </a:ext>
              </a:extLst>
            </p:cNvPr>
            <p:cNvGrpSpPr/>
            <p:nvPr/>
          </p:nvGrpSpPr>
          <p:grpSpPr>
            <a:xfrm>
              <a:off x="4106830" y="2936955"/>
              <a:ext cx="924411" cy="570459"/>
              <a:chOff x="4106830" y="2823479"/>
              <a:chExt cx="924411" cy="570459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60C5C0CE-3B9C-DBD3-71F5-022AD130ED67}"/>
                  </a:ext>
                </a:extLst>
              </p:cNvPr>
              <p:cNvGrpSpPr/>
              <p:nvPr/>
            </p:nvGrpSpPr>
            <p:grpSpPr>
              <a:xfrm>
                <a:off x="4106830" y="2823479"/>
                <a:ext cx="924411" cy="570459"/>
                <a:chOff x="5735766" y="2663620"/>
                <a:chExt cx="924411" cy="515108"/>
              </a:xfrm>
            </p:grpSpPr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EFFE7C70-DC97-BA76-BAD5-302ED15352BF}"/>
                    </a:ext>
                  </a:extLst>
                </p:cNvPr>
                <p:cNvSpPr/>
                <p:nvPr/>
              </p:nvSpPr>
              <p:spPr>
                <a:xfrm>
                  <a:off x="5735766" y="2663620"/>
                  <a:ext cx="924411" cy="51510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3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BCB64DC7-FC85-83B5-006C-F15461BB76A8}"/>
                    </a:ext>
                  </a:extLst>
                </p:cNvPr>
                <p:cNvSpPr txBox="1"/>
                <p:nvPr/>
              </p:nvSpPr>
              <p:spPr>
                <a:xfrm>
                  <a:off x="5820726" y="2673539"/>
                  <a:ext cx="751145" cy="29238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300" dirty="0"/>
                    <a:t>     Agent</a:t>
                  </a:r>
                </a:p>
              </p:txBody>
            </p:sp>
            <p:pic>
              <p:nvPicPr>
                <p:cNvPr id="57" name="Graphic 56" descr="Server outline">
                  <a:extLst>
                    <a:ext uri="{FF2B5EF4-FFF2-40B4-BE49-F238E27FC236}">
                      <a16:creationId xmlns:a16="http://schemas.microsoft.com/office/drawing/2014/main" id="{948C4C13-60FD-C8D1-F3BD-809692C661C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57433" y="2733888"/>
                  <a:ext cx="183506" cy="183506"/>
                </a:xfrm>
                <a:prstGeom prst="rect">
                  <a:avLst/>
                </a:prstGeom>
              </p:spPr>
            </p:pic>
          </p:grp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8CA4AABF-4F0E-997D-CE72-DA71453BE31E}"/>
                  </a:ext>
                </a:extLst>
              </p:cNvPr>
              <p:cNvSpPr/>
              <p:nvPr/>
            </p:nvSpPr>
            <p:spPr>
              <a:xfrm>
                <a:off x="4141086" y="3115684"/>
                <a:ext cx="852551" cy="223626"/>
              </a:xfrm>
              <a:prstGeom prst="rect">
                <a:avLst/>
              </a:prstGeom>
              <a:solidFill>
                <a:srgbClr val="E2E2E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300" dirty="0">
                    <a:solidFill>
                      <a:schemeClr val="tx1"/>
                    </a:solidFill>
                  </a:rPr>
                  <a:t>Job</a:t>
                </a:r>
              </a:p>
            </p:txBody>
          </p:sp>
        </p:grp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E73E6432-C59A-DB44-D0C6-C191A6A46E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71650" y="2585234"/>
              <a:ext cx="0" cy="351721"/>
            </a:xfrm>
            <a:prstGeom prst="straightConnector1">
              <a:avLst/>
            </a:prstGeom>
            <a:ln>
              <a:prstDash val="sysDash"/>
              <a:tailEnd type="stealt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506499D-0F2A-7F9D-70C8-4478DBE271C0}"/>
                </a:ext>
              </a:extLst>
            </p:cNvPr>
            <p:cNvSpPr txBox="1"/>
            <p:nvPr/>
          </p:nvSpPr>
          <p:spPr>
            <a:xfrm>
              <a:off x="4252842" y="2567886"/>
              <a:ext cx="63831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i="1" dirty="0" err="1"/>
                <a:t>Depends</a:t>
              </a:r>
              <a:endParaRPr lang="de-DE" sz="1000" i="1" dirty="0"/>
            </a:p>
            <a:p>
              <a:r>
                <a:rPr lang="de-DE" sz="1000" i="1" dirty="0"/>
                <a:t>on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2B0C834-40FA-F52B-60E8-3E1C3078AFF4}"/>
                </a:ext>
              </a:extLst>
            </p:cNvPr>
            <p:cNvSpPr/>
            <p:nvPr/>
          </p:nvSpPr>
          <p:spPr>
            <a:xfrm>
              <a:off x="5406954" y="1397008"/>
              <a:ext cx="1184067" cy="1321307"/>
            </a:xfrm>
            <a:prstGeom prst="rect">
              <a:avLst/>
            </a:prstGeom>
            <a:solidFill>
              <a:srgbClr val="A0C8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6313F41-5C8C-8420-D2BD-9A78B43BD1BF}"/>
                </a:ext>
              </a:extLst>
            </p:cNvPr>
            <p:cNvSpPr txBox="1"/>
            <p:nvPr/>
          </p:nvSpPr>
          <p:spPr>
            <a:xfrm>
              <a:off x="5572321" y="1399718"/>
              <a:ext cx="8525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 err="1"/>
                <a:t>Steps</a:t>
              </a:r>
              <a:endParaRPr lang="de-DE" sz="1400" b="1" dirty="0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576E7602-1347-2C9B-EE3F-3E56AC94A7CB}"/>
                </a:ext>
              </a:extLst>
            </p:cNvPr>
            <p:cNvSpPr/>
            <p:nvPr/>
          </p:nvSpPr>
          <p:spPr>
            <a:xfrm>
              <a:off x="5492942" y="1756576"/>
              <a:ext cx="1011311" cy="223626"/>
            </a:xfrm>
            <a:prstGeom prst="rect">
              <a:avLst/>
            </a:prstGeom>
            <a:solidFill>
              <a:srgbClr val="E2E2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i="1" dirty="0" err="1">
                  <a:solidFill>
                    <a:schemeClr val="tx1"/>
                  </a:solidFill>
                </a:rPr>
                <a:t>Step</a:t>
              </a:r>
              <a:r>
                <a:rPr lang="de-DE" sz="1300" dirty="0">
                  <a:solidFill>
                    <a:schemeClr val="tx1"/>
                  </a:solidFill>
                </a:rPr>
                <a:t>: </a:t>
              </a:r>
              <a:r>
                <a:rPr lang="de-DE" sz="1300" dirty="0" err="1">
                  <a:solidFill>
                    <a:schemeClr val="tx1"/>
                  </a:solidFill>
                </a:rPr>
                <a:t>Script</a:t>
              </a:r>
              <a:endParaRPr lang="de-DE" sz="1300" dirty="0">
                <a:solidFill>
                  <a:schemeClr val="tx1"/>
                </a:solidFill>
              </a:endParaRPr>
            </a:p>
          </p:txBody>
        </p: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FA029D7C-234C-5197-F5E0-ED0AAF0F7148}"/>
                </a:ext>
              </a:extLst>
            </p:cNvPr>
            <p:cNvCxnSpPr>
              <a:cxnSpLocks/>
            </p:cNvCxnSpPr>
            <p:nvPr/>
          </p:nvCxnSpPr>
          <p:spPr>
            <a:xfrm>
              <a:off x="5035874" y="1862301"/>
              <a:ext cx="371081" cy="0"/>
            </a:xfrm>
            <a:prstGeom prst="straightConnector1">
              <a:avLst/>
            </a:prstGeom>
            <a:ln>
              <a:tailEnd type="stealt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09EFFA0D-9BD3-5E76-09B4-43035886368F}"/>
                </a:ext>
              </a:extLst>
            </p:cNvPr>
            <p:cNvSpPr/>
            <p:nvPr/>
          </p:nvSpPr>
          <p:spPr>
            <a:xfrm>
              <a:off x="5492940" y="2051573"/>
              <a:ext cx="1011311" cy="223626"/>
            </a:xfrm>
            <a:prstGeom prst="rect">
              <a:avLst/>
            </a:prstGeom>
            <a:solidFill>
              <a:srgbClr val="E2E2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i="1" dirty="0" err="1">
                  <a:solidFill>
                    <a:schemeClr val="tx1"/>
                  </a:solidFill>
                </a:rPr>
                <a:t>Step</a:t>
              </a:r>
              <a:r>
                <a:rPr lang="de-DE" sz="1300" dirty="0">
                  <a:solidFill>
                    <a:schemeClr val="tx1"/>
                  </a:solidFill>
                </a:rPr>
                <a:t>: Task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DDDD9985-1E3D-C777-CF30-97F3C37AC317}"/>
                </a:ext>
              </a:extLst>
            </p:cNvPr>
            <p:cNvSpPr/>
            <p:nvPr/>
          </p:nvSpPr>
          <p:spPr>
            <a:xfrm>
              <a:off x="5492942" y="2362060"/>
              <a:ext cx="1011311" cy="223626"/>
            </a:xfrm>
            <a:prstGeom prst="rect">
              <a:avLst/>
            </a:prstGeom>
            <a:solidFill>
              <a:srgbClr val="E2E2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i="1" dirty="0" err="1">
                  <a:solidFill>
                    <a:schemeClr val="tx1"/>
                  </a:solidFill>
                </a:rPr>
                <a:t>Step</a:t>
              </a:r>
              <a:r>
                <a:rPr lang="de-DE" sz="1300" dirty="0">
                  <a:solidFill>
                    <a:schemeClr val="tx1"/>
                  </a:solidFill>
                </a:rPr>
                <a:t>: Task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E62DB01-B1B8-42E1-3F8C-EA2A7CAD6A5C}"/>
                </a:ext>
              </a:extLst>
            </p:cNvPr>
            <p:cNvSpPr/>
            <p:nvPr/>
          </p:nvSpPr>
          <p:spPr>
            <a:xfrm>
              <a:off x="5406954" y="2831705"/>
              <a:ext cx="1184067" cy="697757"/>
            </a:xfrm>
            <a:prstGeom prst="rect">
              <a:avLst/>
            </a:prstGeom>
            <a:solidFill>
              <a:srgbClr val="A0C8F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A4DD0F6-E29A-39E9-5F2A-593FD7DEE8B0}"/>
                </a:ext>
              </a:extLst>
            </p:cNvPr>
            <p:cNvSpPr txBox="1"/>
            <p:nvPr/>
          </p:nvSpPr>
          <p:spPr>
            <a:xfrm>
              <a:off x="5572321" y="2834414"/>
              <a:ext cx="8525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 err="1"/>
                <a:t>Steps</a:t>
              </a:r>
              <a:endParaRPr lang="de-DE" sz="1400" b="1" dirty="0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B5090443-D87A-C936-940E-7FF4298F2F15}"/>
                </a:ext>
              </a:extLst>
            </p:cNvPr>
            <p:cNvSpPr/>
            <p:nvPr/>
          </p:nvSpPr>
          <p:spPr>
            <a:xfrm>
              <a:off x="5492942" y="3191272"/>
              <a:ext cx="1011311" cy="223626"/>
            </a:xfrm>
            <a:prstGeom prst="rect">
              <a:avLst/>
            </a:prstGeom>
            <a:solidFill>
              <a:srgbClr val="E2E2E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i="1" dirty="0" err="1">
                  <a:solidFill>
                    <a:schemeClr val="tx1"/>
                  </a:solidFill>
                </a:rPr>
                <a:t>Step</a:t>
              </a:r>
              <a:r>
                <a:rPr lang="de-DE" sz="1300" dirty="0">
                  <a:solidFill>
                    <a:schemeClr val="tx1"/>
                  </a:solidFill>
                </a:rPr>
                <a:t>: Task</a:t>
              </a:r>
            </a:p>
          </p:txBody>
        </p:sp>
        <p:cxnSp>
          <p:nvCxnSpPr>
            <p:cNvPr id="84" name="Connector: Elbow 83">
              <a:extLst>
                <a:ext uri="{FF2B5EF4-FFF2-40B4-BE49-F238E27FC236}">
                  <a16:creationId xmlns:a16="http://schemas.microsoft.com/office/drawing/2014/main" id="{9205FF2B-411E-1D96-BC9A-FB81391FD254}"/>
                </a:ext>
              </a:extLst>
            </p:cNvPr>
            <p:cNvCxnSpPr>
              <a:stCxn id="34" idx="3"/>
              <a:endCxn id="80" idx="1"/>
            </p:cNvCxnSpPr>
            <p:nvPr/>
          </p:nvCxnSpPr>
          <p:spPr>
            <a:xfrm>
              <a:off x="4998273" y="2473421"/>
              <a:ext cx="494669" cy="829664"/>
            </a:xfrm>
            <a:prstGeom prst="bentConnector3">
              <a:avLst/>
            </a:prstGeom>
            <a:ln>
              <a:tailEnd type="stealt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FC1AFA35-E333-2A8F-BAE1-F7D26457D069}"/>
                </a:ext>
              </a:extLst>
            </p:cNvPr>
            <p:cNvSpPr txBox="1"/>
            <p:nvPr/>
          </p:nvSpPr>
          <p:spPr>
            <a:xfrm>
              <a:off x="6862126" y="2038391"/>
              <a:ext cx="130516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Publish </a:t>
              </a:r>
              <a:r>
                <a:rPr lang="de-DE" sz="1000" dirty="0" err="1"/>
                <a:t>build</a:t>
              </a:r>
              <a:r>
                <a:rPr lang="de-DE" sz="1000" dirty="0"/>
                <a:t> </a:t>
              </a:r>
              <a:r>
                <a:rPr lang="de-DE" sz="1000" dirty="0" err="1"/>
                <a:t>artifact</a:t>
              </a:r>
              <a:endParaRPr lang="de-DE" sz="10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C8921C6-93DF-43CD-99B0-662F26502924}"/>
                </a:ext>
              </a:extLst>
            </p:cNvPr>
            <p:cNvSpPr txBox="1"/>
            <p:nvPr/>
          </p:nvSpPr>
          <p:spPr>
            <a:xfrm>
              <a:off x="6877366" y="2350310"/>
              <a:ext cx="153439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Azure App Service deploy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7B3A52A-10CB-8FA1-35FD-707B63F81D66}"/>
                </a:ext>
              </a:extLst>
            </p:cNvPr>
            <p:cNvSpPr txBox="1"/>
            <p:nvPr/>
          </p:nvSpPr>
          <p:spPr>
            <a:xfrm>
              <a:off x="6844906" y="3179974"/>
              <a:ext cx="105349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err="1"/>
                <a:t>Invoke</a:t>
              </a:r>
              <a:r>
                <a:rPr lang="de-DE" sz="1000" dirty="0"/>
                <a:t> REST API</a:t>
              </a:r>
            </a:p>
          </p:txBody>
        </p:sp>
        <p:pic>
          <p:nvPicPr>
            <p:cNvPr id="89" name="Graphic 88" descr="Filing Box Archive outline">
              <a:extLst>
                <a:ext uri="{FF2B5EF4-FFF2-40B4-BE49-F238E27FC236}">
                  <a16:creationId xmlns:a16="http://schemas.microsoft.com/office/drawing/2014/main" id="{25E9502D-5D6A-5D0D-1A69-C513863849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17872" y="2054750"/>
              <a:ext cx="215335" cy="215335"/>
            </a:xfrm>
            <a:prstGeom prst="rect">
              <a:avLst/>
            </a:prstGeom>
          </p:spPr>
        </p:pic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18F2F566-B42C-8C83-342E-8D425C94B008}"/>
                </a:ext>
              </a:extLst>
            </p:cNvPr>
            <p:cNvCxnSpPr>
              <a:cxnSpLocks/>
              <a:stCxn id="76" idx="3"/>
              <a:endCxn id="89" idx="1"/>
            </p:cNvCxnSpPr>
            <p:nvPr/>
          </p:nvCxnSpPr>
          <p:spPr>
            <a:xfrm flipV="1">
              <a:off x="6504251" y="2162418"/>
              <a:ext cx="213621" cy="968"/>
            </a:xfrm>
            <a:prstGeom prst="line">
              <a:avLst/>
            </a:prstGeom>
            <a:ln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98" name="Graphic 97" descr="Share with solid fill">
              <a:extLst>
                <a:ext uri="{FF2B5EF4-FFF2-40B4-BE49-F238E27FC236}">
                  <a16:creationId xmlns:a16="http://schemas.microsoft.com/office/drawing/2014/main" id="{268B0A6D-220F-EC8D-D9C2-AE3C0C1C50E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33112" y="2365753"/>
              <a:ext cx="215335" cy="215335"/>
            </a:xfrm>
            <a:prstGeom prst="rect">
              <a:avLst/>
            </a:prstGeom>
          </p:spPr>
        </p:pic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99BB5C12-14EA-C604-D3A6-A65D9A58FD73}"/>
                </a:ext>
              </a:extLst>
            </p:cNvPr>
            <p:cNvCxnSpPr>
              <a:cxnSpLocks/>
              <a:stCxn id="77" idx="3"/>
              <a:endCxn id="98" idx="1"/>
            </p:cNvCxnSpPr>
            <p:nvPr/>
          </p:nvCxnSpPr>
          <p:spPr>
            <a:xfrm flipV="1">
              <a:off x="6504253" y="2473421"/>
              <a:ext cx="228859" cy="452"/>
            </a:xfrm>
            <a:prstGeom prst="line">
              <a:avLst/>
            </a:prstGeom>
            <a:ln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104" name="Graphic 103" descr="Cell Tower with solid fill">
              <a:extLst>
                <a:ext uri="{FF2B5EF4-FFF2-40B4-BE49-F238E27FC236}">
                  <a16:creationId xmlns:a16="http://schemas.microsoft.com/office/drawing/2014/main" id="{22287C53-0A2F-31AF-161B-0FB7825C9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733112" y="3207861"/>
              <a:ext cx="190446" cy="190446"/>
            </a:xfrm>
            <a:prstGeom prst="rect">
              <a:avLst/>
            </a:prstGeom>
          </p:spPr>
        </p:pic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252D5C13-DE1B-581A-8ACC-E67EFF760928}"/>
                </a:ext>
              </a:extLst>
            </p:cNvPr>
            <p:cNvCxnSpPr>
              <a:cxnSpLocks/>
              <a:stCxn id="80" idx="3"/>
              <a:endCxn id="104" idx="1"/>
            </p:cNvCxnSpPr>
            <p:nvPr/>
          </p:nvCxnSpPr>
          <p:spPr>
            <a:xfrm flipV="1">
              <a:off x="6504253" y="3303084"/>
              <a:ext cx="228859" cy="1"/>
            </a:xfrm>
            <a:prstGeom prst="line">
              <a:avLst/>
            </a:prstGeom>
            <a:ln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1717517"/>
      </p:ext>
    </p:extLst>
  </p:cSld>
  <p:clrMapOvr>
    <a:masterClrMapping/>
  </p:clrMapOvr>
  <p:transition spd="slow" advClick="0"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/CD Pipelin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7E0AA41-2C85-583F-5417-7A000C91B6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BEFD471-80B0-A847-DC92-3E3CF1C5F7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6BDBD1DC-B644-16E6-B7A9-475F7B2C58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2297536" cy="3539788"/>
          </a:xfrm>
        </p:spPr>
        <p:txBody>
          <a:bodyPr numCol="1"/>
          <a:lstStyle/>
          <a:p>
            <a:pPr marL="0" indent="0">
              <a:buNone/>
            </a:pPr>
            <a:r>
              <a:rPr lang="de-DE" sz="1400" b="1" dirty="0"/>
              <a:t>YAML Pipeline </a:t>
            </a:r>
            <a:r>
              <a:rPr lang="de-DE" sz="1400" b="1" dirty="0" err="1"/>
              <a:t>Example</a:t>
            </a:r>
            <a:endParaRPr lang="de-DE" sz="1400" b="1" dirty="0"/>
          </a:p>
          <a:p>
            <a:r>
              <a:rPr lang="de-DE" sz="1400" dirty="0"/>
              <a:t>Trigger on </a:t>
            </a:r>
            <a:r>
              <a:rPr lang="de-DE" sz="1400" dirty="0" err="1"/>
              <a:t>main</a:t>
            </a:r>
            <a:r>
              <a:rPr lang="de-DE" sz="1400" dirty="0"/>
              <a:t> </a:t>
            </a:r>
            <a:r>
              <a:rPr lang="de-DE" sz="1400" dirty="0" err="1"/>
              <a:t>commit</a:t>
            </a:r>
            <a:endParaRPr lang="de-DE" sz="1400" dirty="0"/>
          </a:p>
          <a:p>
            <a:r>
              <a:rPr lang="de-DE" sz="1400" dirty="0"/>
              <a:t>Run on Ubuntu </a:t>
            </a:r>
            <a:r>
              <a:rPr lang="de-DE" sz="1400" dirty="0" err="1"/>
              <a:t>agent</a:t>
            </a:r>
            <a:endParaRPr lang="de-DE" sz="1400" dirty="0"/>
          </a:p>
          <a:p>
            <a:r>
              <a:rPr lang="de-DE" sz="1400" dirty="0" err="1"/>
              <a:t>Build</a:t>
            </a:r>
            <a:r>
              <a:rPr lang="de-DE" sz="1400" dirty="0"/>
              <a:t> </a:t>
            </a:r>
            <a:r>
              <a:rPr lang="de-DE" sz="1400" dirty="0" err="1"/>
              <a:t>stage</a:t>
            </a:r>
            <a:endParaRPr lang="de-DE" sz="1400" dirty="0"/>
          </a:p>
          <a:p>
            <a:pPr lvl="1"/>
            <a:r>
              <a:rPr lang="de-DE" sz="1400" dirty="0" err="1"/>
              <a:t>Install</a:t>
            </a:r>
            <a:r>
              <a:rPr lang="de-DE" sz="1400" dirty="0"/>
              <a:t> Python</a:t>
            </a:r>
          </a:p>
          <a:p>
            <a:pPr lvl="1"/>
            <a:r>
              <a:rPr lang="de-DE" sz="1400" dirty="0"/>
              <a:t>Create </a:t>
            </a:r>
            <a:r>
              <a:rPr lang="de-DE" sz="1400" dirty="0" err="1"/>
              <a:t>Venv</a:t>
            </a:r>
            <a:r>
              <a:rPr lang="de-DE" sz="1400" dirty="0"/>
              <a:t> and </a:t>
            </a:r>
            <a:r>
              <a:rPr lang="de-DE" sz="1400" dirty="0" err="1"/>
              <a:t>install</a:t>
            </a:r>
            <a:r>
              <a:rPr lang="de-DE" sz="1400" dirty="0"/>
              <a:t> </a:t>
            </a:r>
            <a:r>
              <a:rPr lang="de-DE" sz="1400" dirty="0" err="1"/>
              <a:t>dependencies</a:t>
            </a:r>
            <a:endParaRPr lang="de-DE" sz="1400" dirty="0"/>
          </a:p>
          <a:p>
            <a:pPr lvl="1"/>
            <a:r>
              <a:rPr lang="de-DE" sz="1400" dirty="0"/>
              <a:t>Run </a:t>
            </a:r>
            <a:r>
              <a:rPr lang="de-DE" sz="1400" dirty="0" err="1"/>
              <a:t>unit</a:t>
            </a:r>
            <a:r>
              <a:rPr lang="de-DE" sz="1400" dirty="0"/>
              <a:t> </a:t>
            </a:r>
            <a:r>
              <a:rPr lang="de-DE" sz="1400" dirty="0" err="1"/>
              <a:t>tests</a:t>
            </a:r>
            <a:endParaRPr lang="de-DE" sz="1400" dirty="0"/>
          </a:p>
          <a:p>
            <a:r>
              <a:rPr lang="de-DE" sz="1400" dirty="0"/>
              <a:t>Deploy </a:t>
            </a:r>
            <a:r>
              <a:rPr lang="de-DE" sz="1400" dirty="0" err="1"/>
              <a:t>stage</a:t>
            </a:r>
            <a:endParaRPr lang="de-DE" sz="1400" dirty="0"/>
          </a:p>
          <a:p>
            <a:pPr lvl="1"/>
            <a:r>
              <a:rPr lang="de-DE" sz="1400" dirty="0" err="1"/>
              <a:t>Only</a:t>
            </a:r>
            <a:r>
              <a:rPr lang="de-DE" sz="1400" dirty="0"/>
              <a:t> </a:t>
            </a:r>
            <a:r>
              <a:rPr lang="de-DE" sz="1400" dirty="0" err="1"/>
              <a:t>runs</a:t>
            </a:r>
            <a:r>
              <a:rPr lang="de-DE" sz="1400" dirty="0"/>
              <a:t> </a:t>
            </a:r>
            <a:r>
              <a:rPr lang="de-DE" sz="1400" dirty="0" err="1"/>
              <a:t>if</a:t>
            </a:r>
            <a:r>
              <a:rPr lang="de-DE" sz="1400" dirty="0"/>
              <a:t> </a:t>
            </a:r>
            <a:r>
              <a:rPr lang="de-DE" sz="1400" dirty="0" err="1"/>
              <a:t>build</a:t>
            </a:r>
            <a:r>
              <a:rPr lang="de-DE" sz="1400" dirty="0"/>
              <a:t> </a:t>
            </a:r>
            <a:r>
              <a:rPr lang="de-DE" sz="1400" dirty="0" err="1"/>
              <a:t>succeeded</a:t>
            </a:r>
            <a:endParaRPr lang="de-DE" sz="1400" dirty="0"/>
          </a:p>
          <a:p>
            <a:pPr lvl="1"/>
            <a:r>
              <a:rPr lang="de-DE" sz="1400" dirty="0"/>
              <a:t>Deploy </a:t>
            </a:r>
            <a:r>
              <a:rPr lang="de-DE" sz="1400" dirty="0" err="1"/>
              <a:t>application</a:t>
            </a:r>
            <a:endParaRPr lang="de-DE" sz="1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4</a:t>
            </a:fld>
            <a:endParaRPr lang="de-DE" dirty="0"/>
          </a:p>
        </p:txBody>
      </p:sp>
      <p:pic>
        <p:nvPicPr>
          <p:cNvPr id="4" name="Picture 3" descr="A blue object with a black background&#10;&#10;Description automatically generated">
            <a:extLst>
              <a:ext uri="{FF2B5EF4-FFF2-40B4-BE49-F238E27FC236}">
                <a16:creationId xmlns:a16="http://schemas.microsoft.com/office/drawing/2014/main" id="{04FB4568-30F1-4FD8-4AC0-1B35FB997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462" y="215783"/>
            <a:ext cx="442010" cy="442010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0BC6FB20-1CFE-8A8F-E899-94B2B3844A81}"/>
              </a:ext>
            </a:extLst>
          </p:cNvPr>
          <p:cNvGrpSpPr/>
          <p:nvPr/>
        </p:nvGrpSpPr>
        <p:grpSpPr>
          <a:xfrm>
            <a:off x="2692973" y="320675"/>
            <a:ext cx="6403819" cy="4466997"/>
            <a:chOff x="2692973" y="320675"/>
            <a:chExt cx="6403819" cy="4466997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F7380A4-46DD-8BB7-791D-FE2FD8FB1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92973" y="320675"/>
              <a:ext cx="3328119" cy="4455982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3EA590E-C7BD-DD0B-9A9B-D3C9996900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80564" y="3111989"/>
              <a:ext cx="3016228" cy="1675683"/>
            </a:xfrm>
            <a:prstGeom prst="rect">
              <a:avLst/>
            </a:prstGeom>
          </p:spPr>
        </p:pic>
        <p:sp>
          <p:nvSpPr>
            <p:cNvPr id="31" name="Callout: Line 30">
              <a:extLst>
                <a:ext uri="{FF2B5EF4-FFF2-40B4-BE49-F238E27FC236}">
                  <a16:creationId xmlns:a16="http://schemas.microsoft.com/office/drawing/2014/main" id="{4766A517-41DE-BA0F-C874-7D3C7105A1BE}"/>
                </a:ext>
              </a:extLst>
            </p:cNvPr>
            <p:cNvSpPr/>
            <p:nvPr/>
          </p:nvSpPr>
          <p:spPr>
            <a:xfrm>
              <a:off x="5377020" y="1656745"/>
              <a:ext cx="1313340" cy="267584"/>
            </a:xfrm>
            <a:prstGeom prst="borderCallout1">
              <a:avLst>
                <a:gd name="adj1" fmla="val 98290"/>
                <a:gd name="adj2" fmla="val 13814"/>
                <a:gd name="adj3" fmla="val 259795"/>
                <a:gd name="adj4" fmla="val -37661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ln w="0"/>
                  <a:solidFill>
                    <a:schemeClr val="bg1"/>
                  </a:solidFill>
                </a:rPr>
                <a:t>Prepared</a:t>
              </a:r>
              <a:r>
                <a:rPr lang="de-DE" sz="1400" dirty="0">
                  <a:ln w="0"/>
                  <a:solidFill>
                    <a:schemeClr val="bg1"/>
                  </a:solidFill>
                </a:rPr>
                <a:t> Task</a:t>
              </a:r>
            </a:p>
          </p:txBody>
        </p:sp>
        <p:sp>
          <p:nvSpPr>
            <p:cNvPr id="32" name="Callout: Line 31">
              <a:extLst>
                <a:ext uri="{FF2B5EF4-FFF2-40B4-BE49-F238E27FC236}">
                  <a16:creationId xmlns:a16="http://schemas.microsoft.com/office/drawing/2014/main" id="{88C9C3C9-8336-F132-A8B8-2006B63FEEEC}"/>
                </a:ext>
              </a:extLst>
            </p:cNvPr>
            <p:cNvSpPr/>
            <p:nvPr/>
          </p:nvSpPr>
          <p:spPr>
            <a:xfrm>
              <a:off x="7578660" y="2191914"/>
              <a:ext cx="1313340" cy="490544"/>
            </a:xfrm>
            <a:prstGeom prst="borderCallout1">
              <a:avLst>
                <a:gd name="adj1" fmla="val 98290"/>
                <a:gd name="adj2" fmla="val 13814"/>
                <a:gd name="adj3" fmla="val 244261"/>
                <a:gd name="adj4" fmla="val 7014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ln w="0"/>
                  <a:solidFill>
                    <a:schemeClr val="bg1"/>
                  </a:solidFill>
                </a:rPr>
                <a:t>Conditional</a:t>
              </a:r>
              <a:r>
                <a:rPr lang="de-DE" sz="1400" dirty="0">
                  <a:ln w="0"/>
                  <a:solidFill>
                    <a:schemeClr val="bg1"/>
                  </a:solidFill>
                </a:rPr>
                <a:t> </a:t>
              </a:r>
              <a:r>
                <a:rPr lang="de-DE" sz="1400" dirty="0" err="1">
                  <a:ln w="0"/>
                  <a:solidFill>
                    <a:schemeClr val="bg1"/>
                  </a:solidFill>
                </a:rPr>
                <a:t>Execution</a:t>
              </a:r>
              <a:endParaRPr lang="de-DE" sz="1400" dirty="0">
                <a:ln w="0"/>
                <a:solidFill>
                  <a:schemeClr val="bg1"/>
                </a:solidFill>
              </a:endParaRPr>
            </a:p>
          </p:txBody>
        </p:sp>
        <p:sp>
          <p:nvSpPr>
            <p:cNvPr id="33" name="Callout: Line 32">
              <a:extLst>
                <a:ext uri="{FF2B5EF4-FFF2-40B4-BE49-F238E27FC236}">
                  <a16:creationId xmlns:a16="http://schemas.microsoft.com/office/drawing/2014/main" id="{6CAE93F6-EEB6-8C6F-AA76-6EA2DAF2B0FF}"/>
                </a:ext>
              </a:extLst>
            </p:cNvPr>
            <p:cNvSpPr/>
            <p:nvPr/>
          </p:nvSpPr>
          <p:spPr>
            <a:xfrm>
              <a:off x="4643438" y="610730"/>
              <a:ext cx="1313340" cy="449720"/>
            </a:xfrm>
            <a:prstGeom prst="borderCallout1">
              <a:avLst>
                <a:gd name="adj1" fmla="val 52727"/>
                <a:gd name="adj2" fmla="val -111"/>
                <a:gd name="adj3" fmla="val 57893"/>
                <a:gd name="adj4" fmla="val -62610"/>
              </a:avLst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ln w="0"/>
                  <a:solidFill>
                    <a:schemeClr val="bg1"/>
                  </a:solidFill>
                </a:rPr>
                <a:t>Trigger on </a:t>
              </a:r>
              <a:r>
                <a:rPr lang="de-DE" sz="1400" dirty="0" err="1">
                  <a:ln w="0"/>
                  <a:solidFill>
                    <a:schemeClr val="bg1"/>
                  </a:solidFill>
                </a:rPr>
                <a:t>main</a:t>
              </a:r>
              <a:r>
                <a:rPr lang="de-DE" sz="1400" dirty="0">
                  <a:ln w="0"/>
                  <a:solidFill>
                    <a:schemeClr val="bg1"/>
                  </a:solidFill>
                </a:rPr>
                <a:t> </a:t>
              </a:r>
              <a:r>
                <a:rPr lang="de-DE" sz="1400" dirty="0" err="1">
                  <a:ln w="0"/>
                  <a:solidFill>
                    <a:schemeClr val="bg1"/>
                  </a:solidFill>
                </a:rPr>
                <a:t>commit</a:t>
              </a:r>
              <a:endParaRPr lang="de-DE" sz="1400" dirty="0">
                <a:ln w="0"/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3683153"/>
      </p:ext>
    </p:extLst>
  </p:cSld>
  <p:clrMapOvr>
    <a:masterClrMapping/>
  </p:clrMapOvr>
  <p:transition spd="slow" advClick="0"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/CD Pipelin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7E0AA41-2C85-583F-5417-7A000C91B6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BEFD471-80B0-A847-DC92-3E3CF1C5F7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5</a:t>
            </a:fld>
            <a:endParaRPr lang="de-DE" dirty="0"/>
          </a:p>
        </p:txBody>
      </p:sp>
      <p:pic>
        <p:nvPicPr>
          <p:cNvPr id="4" name="Picture 3" descr="A blue object with a black background&#10;&#10;Description automatically generated">
            <a:extLst>
              <a:ext uri="{FF2B5EF4-FFF2-40B4-BE49-F238E27FC236}">
                <a16:creationId xmlns:a16="http://schemas.microsoft.com/office/drawing/2014/main" id="{04FB4568-30F1-4FD8-4AC0-1B35FB997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462" y="215783"/>
            <a:ext cx="442010" cy="4420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59067E7-C3B5-32F3-66D6-845EF6D842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6696" y="823577"/>
            <a:ext cx="6413483" cy="3956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976529"/>
      </p:ext>
    </p:extLst>
  </p:cSld>
  <p:clrMapOvr>
    <a:masterClrMapping/>
  </p:clrMapOvr>
  <p:transition spd="slow" advClick="0"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/CD Pipelin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7E0AA41-2C85-583F-5417-7A000C91B6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BEFD471-80B0-A847-DC92-3E3CF1C5F7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6BDBD1DC-B644-16E6-B7A9-475F7B2C58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8568001" cy="1796443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Environments</a:t>
            </a:r>
          </a:p>
          <a:p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ploymen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ifferent </a:t>
            </a:r>
            <a:r>
              <a:rPr lang="de-DE" dirty="0" err="1"/>
              <a:t>stages</a:t>
            </a:r>
            <a:endParaRPr lang="de-DE" dirty="0"/>
          </a:p>
          <a:p>
            <a:r>
              <a:rPr lang="de-DE" dirty="0"/>
              <a:t>Can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argeted</a:t>
            </a:r>
            <a:r>
              <a:rPr lang="de-DE" dirty="0"/>
              <a:t> in </a:t>
            </a:r>
            <a:r>
              <a:rPr lang="de-DE" dirty="0" err="1"/>
              <a:t>jobs</a:t>
            </a:r>
            <a:r>
              <a:rPr lang="de-DE" dirty="0"/>
              <a:t> (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jobs</a:t>
            </a:r>
            <a:r>
              <a:rPr lang="de-DE" dirty="0"/>
              <a:t>)</a:t>
            </a:r>
          </a:p>
          <a:p>
            <a:r>
              <a:rPr lang="de-DE" dirty="0" err="1"/>
              <a:t>Gives</a:t>
            </a:r>
            <a:r>
              <a:rPr lang="de-DE" dirty="0"/>
              <a:t> an </a:t>
            </a:r>
            <a:r>
              <a:rPr lang="de-DE" dirty="0" err="1"/>
              <a:t>overview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deployed</a:t>
            </a:r>
            <a:r>
              <a:rPr lang="de-DE" dirty="0"/>
              <a:t> </a:t>
            </a:r>
            <a:r>
              <a:rPr lang="de-DE" dirty="0" err="1"/>
              <a:t>where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6</a:t>
            </a:fld>
            <a:endParaRPr lang="de-DE" dirty="0"/>
          </a:p>
        </p:txBody>
      </p:sp>
      <p:pic>
        <p:nvPicPr>
          <p:cNvPr id="4" name="Picture 3" descr="A blue object with a black background&#10;&#10;Description automatically generated">
            <a:extLst>
              <a:ext uri="{FF2B5EF4-FFF2-40B4-BE49-F238E27FC236}">
                <a16:creationId xmlns:a16="http://schemas.microsoft.com/office/drawing/2014/main" id="{04FB4568-30F1-4FD8-4AC0-1B35FB997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462" y="215783"/>
            <a:ext cx="442010" cy="44201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EB1489D-1A73-73E4-8FEF-BA49142577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227" y="2661348"/>
            <a:ext cx="8695545" cy="1796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573507"/>
      </p:ext>
    </p:extLst>
  </p:cSld>
  <p:clrMapOvr>
    <a:masterClrMapping/>
  </p:clrMapOvr>
  <p:transition spd="slow" advClick="0"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/CD Pipelin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7E0AA41-2C85-583F-5417-7A000C91B6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BEFD471-80B0-A847-DC92-3E3CF1C5F7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6BDBD1DC-B644-16E6-B7A9-475F7B2C58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Environments</a:t>
            </a:r>
          </a:p>
          <a:p>
            <a:r>
              <a:rPr lang="de-DE" dirty="0"/>
              <a:t>Environments also support </a:t>
            </a:r>
            <a:r>
              <a:rPr lang="de-DE" dirty="0" err="1"/>
              <a:t>Approvals</a:t>
            </a:r>
            <a:r>
              <a:rPr lang="de-DE" dirty="0"/>
              <a:t> &amp; Checks</a:t>
            </a:r>
          </a:p>
          <a:p>
            <a:pPr lvl="1"/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Approvals</a:t>
            </a:r>
            <a:endParaRPr lang="de-DE" dirty="0"/>
          </a:p>
          <a:p>
            <a:pPr lvl="1"/>
            <a:r>
              <a:rPr lang="de-DE" dirty="0"/>
              <a:t>Branch Checks</a:t>
            </a:r>
          </a:p>
          <a:p>
            <a:pPr lvl="1"/>
            <a:r>
              <a:rPr lang="de-DE" dirty="0"/>
              <a:t>Time </a:t>
            </a:r>
            <a:r>
              <a:rPr lang="de-DE" dirty="0" err="1"/>
              <a:t>Constraint</a:t>
            </a:r>
            <a:r>
              <a:rPr lang="de-DE" dirty="0"/>
              <a:t> Checks</a:t>
            </a:r>
          </a:p>
          <a:p>
            <a:pPr lvl="1"/>
            <a:r>
              <a:rPr lang="de-DE" dirty="0" err="1"/>
              <a:t>Invoke</a:t>
            </a:r>
            <a:r>
              <a:rPr lang="de-DE" dirty="0"/>
              <a:t> Azure </a:t>
            </a:r>
            <a:r>
              <a:rPr lang="de-DE" dirty="0" err="1"/>
              <a:t>Function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7</a:t>
            </a:fld>
            <a:endParaRPr lang="de-DE" dirty="0"/>
          </a:p>
        </p:txBody>
      </p:sp>
      <p:pic>
        <p:nvPicPr>
          <p:cNvPr id="4" name="Picture 3" descr="A blue object with a black background&#10;&#10;Description automatically generated">
            <a:extLst>
              <a:ext uri="{FF2B5EF4-FFF2-40B4-BE49-F238E27FC236}">
                <a16:creationId xmlns:a16="http://schemas.microsoft.com/office/drawing/2014/main" id="{04FB4568-30F1-4FD8-4AC0-1B35FB997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462" y="215783"/>
            <a:ext cx="442010" cy="4420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8D931C3-2F86-D2C2-CA35-96341A961F2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478"/>
          <a:stretch/>
        </p:blipFill>
        <p:spPr>
          <a:xfrm>
            <a:off x="171561" y="3094821"/>
            <a:ext cx="5754961" cy="146119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CF70896-101A-115C-1AAC-E323BC9204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78960" y="65088"/>
            <a:ext cx="2372291" cy="471514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844847111"/>
      </p:ext>
    </p:extLst>
  </p:cSld>
  <p:clrMapOvr>
    <a:masterClrMapping/>
  </p:clrMapOvr>
  <p:transition spd="slow" advClick="0"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55867-630C-30C2-C217-861779BED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/CD Pipelin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7E0AA41-2C85-583F-5417-7A000C91B6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BEFD471-80B0-A847-DC92-3E3CF1C5F7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6BDBD1DC-B644-16E6-B7A9-475F7B2C58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060450"/>
            <a:ext cx="4598521" cy="1796443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Library</a:t>
            </a:r>
          </a:p>
          <a:p>
            <a:r>
              <a:rPr lang="de-DE" sz="1400" dirty="0"/>
              <a:t>Stores Variable Groups and Secure Files</a:t>
            </a:r>
          </a:p>
          <a:p>
            <a:r>
              <a:rPr lang="de-DE" sz="1400" dirty="0"/>
              <a:t>Can </a:t>
            </a:r>
            <a:r>
              <a:rPr lang="de-DE" sz="1400" dirty="0" err="1"/>
              <a:t>be</a:t>
            </a:r>
            <a:r>
              <a:rPr lang="de-DE" sz="1400" dirty="0"/>
              <a:t> </a:t>
            </a:r>
            <a:r>
              <a:rPr lang="de-DE" sz="1400" dirty="0" err="1"/>
              <a:t>accessed</a:t>
            </a:r>
            <a:r>
              <a:rPr lang="de-DE" sz="1400" dirty="0"/>
              <a:t> in </a:t>
            </a:r>
            <a:r>
              <a:rPr lang="de-DE" sz="1400" dirty="0" err="1"/>
              <a:t>pipelines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retrieve</a:t>
            </a:r>
            <a:r>
              <a:rPr lang="de-DE" sz="1400" dirty="0"/>
              <a:t> </a:t>
            </a:r>
            <a:r>
              <a:rPr lang="de-DE" sz="1400" dirty="0" err="1"/>
              <a:t>secrets</a:t>
            </a:r>
            <a:r>
              <a:rPr lang="de-DE" sz="1400" dirty="0"/>
              <a:t> &amp; variables</a:t>
            </a:r>
          </a:p>
          <a:p>
            <a:r>
              <a:rPr lang="de-DE" sz="1400" dirty="0"/>
              <a:t>Secrets </a:t>
            </a:r>
            <a:r>
              <a:rPr lang="de-DE" sz="1400" dirty="0" err="1"/>
              <a:t>can</a:t>
            </a:r>
            <a:r>
              <a:rPr lang="de-DE" sz="1400" dirty="0"/>
              <a:t> also </a:t>
            </a:r>
            <a:r>
              <a:rPr lang="de-DE" sz="1400" dirty="0" err="1"/>
              <a:t>be</a:t>
            </a:r>
            <a:r>
              <a:rPr lang="de-DE" sz="1400" dirty="0"/>
              <a:t> </a:t>
            </a:r>
            <a:r>
              <a:rPr lang="de-DE" sz="1400" dirty="0" err="1"/>
              <a:t>linked</a:t>
            </a:r>
            <a:r>
              <a:rPr lang="de-DE" sz="1400" dirty="0"/>
              <a:t> </a:t>
            </a:r>
            <a:r>
              <a:rPr lang="de-DE" sz="1400" dirty="0" err="1"/>
              <a:t>from</a:t>
            </a:r>
            <a:r>
              <a:rPr lang="de-DE" sz="1400" dirty="0"/>
              <a:t> Azure Key </a:t>
            </a:r>
            <a:r>
              <a:rPr lang="de-DE" sz="1400" dirty="0" err="1"/>
              <a:t>Vault</a:t>
            </a:r>
            <a:endParaRPr lang="de-DE" sz="1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72759E-297A-9BDF-158A-A0D15A8E8B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5EE9F3-41F7-21B6-DA33-99990CD5B94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6EBCFB3-EA54-4C57-BCD1-1AA3781DEA16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28C4B1-B8F6-4565-66AE-67CD5AA4CD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0A326-7DDE-6799-C0D1-1908FBB9B7B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8</a:t>
            </a:fld>
            <a:endParaRPr lang="de-DE" dirty="0"/>
          </a:p>
        </p:txBody>
      </p:sp>
      <p:pic>
        <p:nvPicPr>
          <p:cNvPr id="4" name="Picture 3" descr="A blue object with a black background&#10;&#10;Description automatically generated">
            <a:extLst>
              <a:ext uri="{FF2B5EF4-FFF2-40B4-BE49-F238E27FC236}">
                <a16:creationId xmlns:a16="http://schemas.microsoft.com/office/drawing/2014/main" id="{04FB4568-30F1-4FD8-4AC0-1B35FB997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462" y="215783"/>
            <a:ext cx="442010" cy="4420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206084B-0A60-6985-6148-3BA0EB603F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3064" y="648000"/>
            <a:ext cx="3933520" cy="41435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B179162-2888-72CD-D7C7-963945172D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850" y="2715344"/>
            <a:ext cx="4394600" cy="172121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77872335"/>
      </p:ext>
    </p:extLst>
  </p:cSld>
  <p:clrMapOvr>
    <a:masterClrMapping/>
  </p:clrMapOvr>
  <p:transition spd="slow" advClick="0"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A390D2-F2C8-C9FB-F97D-5C5E7E995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son</a:t>
            </a:r>
            <a:r>
              <a:rPr lang="de-DE" dirty="0"/>
              <a:t>: Azure </a:t>
            </a:r>
            <a:r>
              <a:rPr lang="de-DE" dirty="0" err="1"/>
              <a:t>DevOps</a:t>
            </a:r>
            <a:r>
              <a:rPr lang="de-DE" dirty="0"/>
              <a:t> &amp; GitHu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24D0A-7CDC-3B5E-F2D7-D507BA864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C484D0-6347-35E1-1554-B9B683C141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5706E89-F76C-7DB2-E34B-3D5F422F2A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Azure </a:t>
            </a:r>
            <a:r>
              <a:rPr lang="de-DE" b="1" dirty="0" err="1"/>
              <a:t>DevOps</a:t>
            </a:r>
            <a:endParaRPr lang="de-DE" b="1" dirty="0"/>
          </a:p>
          <a:p>
            <a:pPr marL="0" indent="0">
              <a:buNone/>
            </a:pPr>
            <a:r>
              <a:rPr lang="de-DE" dirty="0"/>
              <a:t>Pros:</a:t>
            </a:r>
          </a:p>
          <a:p>
            <a:pPr marL="0" indent="0">
              <a:buNone/>
            </a:pPr>
            <a:r>
              <a:rPr lang="de-DE" dirty="0"/>
              <a:t>🟩 </a:t>
            </a:r>
            <a:r>
              <a:rPr lang="en-US" dirty="0"/>
              <a:t>Comprehensive toolset (Repos, Pipelines, Boards, Test Plans, Artifacts)</a:t>
            </a:r>
          </a:p>
          <a:p>
            <a:pPr marL="0" indent="0">
              <a:buNone/>
            </a:pPr>
            <a:r>
              <a:rPr lang="de-DE" dirty="0"/>
              <a:t>🟩 </a:t>
            </a:r>
            <a:r>
              <a:rPr lang="en-US" dirty="0"/>
              <a:t>Strong integration with Azure services and enterprise workflows</a:t>
            </a:r>
            <a:endParaRPr lang="de-DE" dirty="0"/>
          </a:p>
          <a:p>
            <a:pPr marL="0" indent="0">
              <a:buNone/>
            </a:pPr>
            <a:r>
              <a:rPr lang="de-DE" dirty="0" err="1"/>
              <a:t>Cons</a:t>
            </a:r>
            <a:r>
              <a:rPr lang="de-DE" dirty="0"/>
              <a:t>:</a:t>
            </a:r>
          </a:p>
          <a:p>
            <a:pPr marL="0" indent="0">
              <a:buNone/>
            </a:pPr>
            <a:r>
              <a:rPr lang="de-DE" dirty="0"/>
              <a:t>🟥 Rather </a:t>
            </a:r>
            <a:r>
              <a:rPr lang="de-DE" dirty="0" err="1"/>
              <a:t>closed</a:t>
            </a:r>
            <a:r>
              <a:rPr lang="de-DE" dirty="0"/>
              <a:t> </a:t>
            </a:r>
            <a:r>
              <a:rPr lang="de-DE" dirty="0" err="1"/>
              <a:t>ecosystem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🟥 </a:t>
            </a:r>
            <a:r>
              <a:rPr lang="de-DE" dirty="0" err="1"/>
              <a:t>Smaller</a:t>
            </a:r>
            <a:r>
              <a:rPr lang="de-DE" dirty="0"/>
              <a:t> </a:t>
            </a:r>
            <a:r>
              <a:rPr lang="de-DE" dirty="0" err="1"/>
              <a:t>community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🟥 </a:t>
            </a:r>
            <a:r>
              <a:rPr lang="de-DE" dirty="0" err="1"/>
              <a:t>Fewer</a:t>
            </a:r>
            <a:r>
              <a:rPr lang="de-DE" dirty="0"/>
              <a:t> </a:t>
            </a:r>
            <a:r>
              <a:rPr lang="de-DE" dirty="0" err="1"/>
              <a:t>features</a:t>
            </a:r>
            <a:endParaRPr lang="de-D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DCCDA20-95B1-5C50-4726-969A967B8F4B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GitHub</a:t>
            </a:r>
          </a:p>
          <a:p>
            <a:pPr marL="0" indent="0">
              <a:buNone/>
            </a:pPr>
            <a:r>
              <a:rPr lang="de-DE" dirty="0"/>
              <a:t>Pros:</a:t>
            </a:r>
          </a:p>
          <a:p>
            <a:pPr marL="0" indent="0">
              <a:buNone/>
            </a:pPr>
            <a:r>
              <a:rPr lang="de-DE" dirty="0"/>
              <a:t>🟩 </a:t>
            </a:r>
            <a:r>
              <a:rPr lang="en-US" dirty="0"/>
              <a:t>More user-friendly for open-source and smaller teams</a:t>
            </a:r>
          </a:p>
          <a:p>
            <a:pPr marL="0" indent="0">
              <a:buNone/>
            </a:pPr>
            <a:r>
              <a:rPr lang="de-DE" dirty="0"/>
              <a:t>🟩 </a:t>
            </a:r>
            <a:r>
              <a:rPr lang="en-US" dirty="0"/>
              <a:t>Massive community with extensive third-party integrations</a:t>
            </a:r>
            <a:endParaRPr lang="de-DE" dirty="0"/>
          </a:p>
          <a:p>
            <a:pPr marL="0" indent="0">
              <a:buNone/>
            </a:pPr>
            <a:r>
              <a:rPr lang="de-DE" dirty="0" err="1"/>
              <a:t>Cons</a:t>
            </a:r>
            <a:r>
              <a:rPr lang="de-DE" dirty="0"/>
              <a:t>:</a:t>
            </a:r>
          </a:p>
          <a:p>
            <a:pPr marL="0" indent="0">
              <a:buNone/>
            </a:pPr>
            <a:r>
              <a:rPr lang="de-DE" dirty="0"/>
              <a:t>🟥 </a:t>
            </a:r>
            <a:r>
              <a:rPr lang="en-US" dirty="0"/>
              <a:t>Limited built-in project management features</a:t>
            </a:r>
          </a:p>
          <a:p>
            <a:pPr marL="0" indent="0">
              <a:buNone/>
            </a:pPr>
            <a:r>
              <a:rPr lang="de-DE" dirty="0"/>
              <a:t>🟥 </a:t>
            </a:r>
            <a:r>
              <a:rPr lang="en-US" dirty="0"/>
              <a:t>Enterprise-level features require higher-cost plans</a:t>
            </a:r>
            <a:endParaRPr lang="de-DE" dirty="0"/>
          </a:p>
          <a:p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A4DB3F0-DF25-8517-2276-88C93510E3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zure </a:t>
            </a:r>
            <a:r>
              <a:rPr lang="de-DE" dirty="0" err="1"/>
              <a:t>DevOps</a:t>
            </a:r>
            <a:endParaRPr lang="de-DE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F6EE27F-C972-36B0-248B-CA209601F31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3B7EA0-291C-475D-B556-9A4DDB94237B}" type="datetime1">
              <a:rPr lang="de-DE" smtClean="0"/>
              <a:t>10.10.2024</a:t>
            </a:fld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A28EE18-7D32-60E0-789B-9B097894BF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5B98D5D-69EF-9B1B-E8B1-6F75D7CC7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89</a:t>
            </a:fld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A5609A-D0E0-6C15-9246-C582F3FA65F5}"/>
              </a:ext>
            </a:extLst>
          </p:cNvPr>
          <p:cNvSpPr txBox="1"/>
          <p:nvPr/>
        </p:nvSpPr>
        <p:spPr>
          <a:xfrm>
            <a:off x="3141600" y="3948912"/>
            <a:ext cx="41986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oth </a:t>
            </a:r>
            <a:r>
              <a:rPr lang="de-DE" b="1" dirty="0" err="1"/>
              <a:t>platforms</a:t>
            </a:r>
            <a:r>
              <a:rPr lang="de-DE" b="1" dirty="0"/>
              <a:t> </a:t>
            </a:r>
            <a:r>
              <a:rPr lang="de-DE" b="1" dirty="0" err="1"/>
              <a:t>are</a:t>
            </a:r>
            <a:r>
              <a:rPr lang="de-DE" b="1" dirty="0"/>
              <a:t> </a:t>
            </a:r>
            <a:r>
              <a:rPr lang="de-DE" b="1" dirty="0" err="1"/>
              <a:t>owned</a:t>
            </a:r>
            <a:r>
              <a:rPr lang="de-DE" b="1" dirty="0"/>
              <a:t> </a:t>
            </a:r>
            <a:r>
              <a:rPr lang="de-DE" b="1" dirty="0" err="1"/>
              <a:t>by</a:t>
            </a:r>
            <a:r>
              <a:rPr lang="de-DE" b="1" dirty="0"/>
              <a:t> Microsoft and </a:t>
            </a:r>
            <a:r>
              <a:rPr lang="de-DE" b="1" dirty="0" err="1"/>
              <a:t>therefore</a:t>
            </a:r>
            <a:r>
              <a:rPr lang="de-DE" b="1" dirty="0"/>
              <a:t> </a:t>
            </a:r>
            <a:r>
              <a:rPr lang="de-DE" b="1" dirty="0" err="1"/>
              <a:t>have</a:t>
            </a:r>
            <a:r>
              <a:rPr lang="de-DE" b="1" dirty="0"/>
              <a:t> a </a:t>
            </a:r>
            <a:r>
              <a:rPr lang="de-DE" b="1" dirty="0" err="1"/>
              <a:t>lot</a:t>
            </a:r>
            <a:r>
              <a:rPr lang="de-DE" b="1" dirty="0"/>
              <a:t> in </a:t>
            </a:r>
            <a:r>
              <a:rPr lang="de-DE" b="1" dirty="0" err="1"/>
              <a:t>common</a:t>
            </a:r>
            <a:r>
              <a:rPr lang="de-DE" b="1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121455153"/>
      </p:ext>
    </p:extLst>
  </p:cSld>
  <p:clrMapOvr>
    <a:masterClrMapping/>
  </p:clrMapOvr>
  <p:transition spd="slow" advClick="0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FE7C4A-922B-7461-7DAB-FF5FA672B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Git</a:t>
            </a:r>
            <a:r>
              <a:rPr lang="de-DE" dirty="0"/>
              <a:t> Wor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C8A95D-9330-3D0A-DD2C-CE97641D09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08A69F-4152-AAE0-A465-2AF87DFE28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662255-6FB8-4415-55C1-10D5E500FD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49D232B-5A17-6AC1-71D8-26DB9409C00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3B124408-AA78-4236-8C2E-88DB26A49299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51FF89-84B4-80BD-152D-398D8C01113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2B5ADD-22E2-FAB9-7D62-226AA8C303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701BC5-B25A-9846-8C4A-A8E343C52282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D56E6B-DA40-BAB1-5FA5-E4B4A584C011}"/>
              </a:ext>
            </a:extLst>
          </p:cNvPr>
          <p:cNvSpPr txBox="1"/>
          <p:nvPr/>
        </p:nvSpPr>
        <p:spPr>
          <a:xfrm>
            <a:off x="2026760" y="4015048"/>
            <a:ext cx="49670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toring data as snapshots of the project over time</a:t>
            </a:r>
            <a:endParaRPr lang="de-DE" dirty="0"/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5FC485-2801-8951-0130-5DE8E0CB612A}"/>
              </a:ext>
            </a:extLst>
          </p:cNvPr>
          <p:cNvGrpSpPr/>
          <p:nvPr/>
        </p:nvGrpSpPr>
        <p:grpSpPr>
          <a:xfrm>
            <a:off x="1355698" y="1052212"/>
            <a:ext cx="6600079" cy="2537973"/>
            <a:chOff x="1355698" y="1052212"/>
            <a:chExt cx="6600079" cy="2537973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82B68E87-7AA5-8F8C-B60C-723F035CCA5A}"/>
                </a:ext>
              </a:extLst>
            </p:cNvPr>
            <p:cNvCxnSpPr>
              <a:cxnSpLocks/>
            </p:cNvCxnSpPr>
            <p:nvPr/>
          </p:nvCxnSpPr>
          <p:spPr>
            <a:xfrm>
              <a:off x="1355698" y="1387699"/>
              <a:ext cx="6600079" cy="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D83C36E-8F8F-E47A-28DF-E565C0D1D258}"/>
                </a:ext>
              </a:extLst>
            </p:cNvPr>
            <p:cNvSpPr txBox="1"/>
            <p:nvPr/>
          </p:nvSpPr>
          <p:spPr>
            <a:xfrm>
              <a:off x="3766846" y="1052212"/>
              <a:ext cx="166994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/>
                <a:t>Checkins</a:t>
              </a:r>
              <a:r>
                <a:rPr lang="de-DE" sz="1400" dirty="0"/>
                <a:t> Over Time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00CE580B-9DC5-B5A3-F1B0-BFBAB80BF51A}"/>
                </a:ext>
              </a:extLst>
            </p:cNvPr>
            <p:cNvSpPr/>
            <p:nvPr/>
          </p:nvSpPr>
          <p:spPr>
            <a:xfrm>
              <a:off x="1355698" y="1592420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1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14E3572-2CC8-5784-6F52-A61833F7B1BA}"/>
                </a:ext>
              </a:extLst>
            </p:cNvPr>
            <p:cNvSpPr/>
            <p:nvPr/>
          </p:nvSpPr>
          <p:spPr>
            <a:xfrm>
              <a:off x="2716949" y="1593909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2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1405410-F62C-E346-176F-81EE4A07446B}"/>
                </a:ext>
              </a:extLst>
            </p:cNvPr>
            <p:cNvSpPr/>
            <p:nvPr/>
          </p:nvSpPr>
          <p:spPr>
            <a:xfrm>
              <a:off x="4078200" y="1586558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3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FD898E2-71A0-A8B7-C6F6-DF64FC701845}"/>
                </a:ext>
              </a:extLst>
            </p:cNvPr>
            <p:cNvSpPr/>
            <p:nvPr/>
          </p:nvSpPr>
          <p:spPr>
            <a:xfrm>
              <a:off x="5439451" y="1586557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4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B5D0FCF-FAF6-A065-7278-17D12BEE4A97}"/>
                </a:ext>
              </a:extLst>
            </p:cNvPr>
            <p:cNvSpPr/>
            <p:nvPr/>
          </p:nvSpPr>
          <p:spPr>
            <a:xfrm>
              <a:off x="6797537" y="1586556"/>
              <a:ext cx="1158240" cy="3119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Version 5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DA96539E-3C9E-D79E-3A83-9AF71A070F4B}"/>
                </a:ext>
              </a:extLst>
            </p:cNvPr>
            <p:cNvSpPr/>
            <p:nvPr/>
          </p:nvSpPr>
          <p:spPr>
            <a:xfrm>
              <a:off x="1355698" y="2302573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File A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DFA756E7-073F-187F-7068-FE85F2E190C2}"/>
                </a:ext>
              </a:extLst>
            </p:cNvPr>
            <p:cNvSpPr/>
            <p:nvPr/>
          </p:nvSpPr>
          <p:spPr>
            <a:xfrm>
              <a:off x="2716949" y="2302573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A1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8FC2436-EF29-8B5F-0D9C-2A5982792549}"/>
                </a:ext>
              </a:extLst>
            </p:cNvPr>
            <p:cNvSpPr/>
            <p:nvPr/>
          </p:nvSpPr>
          <p:spPr>
            <a:xfrm>
              <a:off x="5439956" y="2292166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A2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8EA63B70-2769-EB80-BD11-0E23D4207F4A}"/>
                </a:ext>
              </a:extLst>
            </p:cNvPr>
            <p:cNvSpPr/>
            <p:nvPr/>
          </p:nvSpPr>
          <p:spPr>
            <a:xfrm>
              <a:off x="1358359" y="2790482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File B 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5669583-5FB7-8EFA-5FB7-7E5CC6E29063}"/>
                </a:ext>
              </a:extLst>
            </p:cNvPr>
            <p:cNvSpPr/>
            <p:nvPr/>
          </p:nvSpPr>
          <p:spPr>
            <a:xfrm>
              <a:off x="5439451" y="2790482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B1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42221B6-AE9D-E9E8-61DE-25704863F633}"/>
                </a:ext>
              </a:extLst>
            </p:cNvPr>
            <p:cNvSpPr/>
            <p:nvPr/>
          </p:nvSpPr>
          <p:spPr>
            <a:xfrm>
              <a:off x="6797537" y="2790482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B2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A49C0B30-9FBF-886F-1BEE-C1E1E0A79B06}"/>
                </a:ext>
              </a:extLst>
            </p:cNvPr>
            <p:cNvSpPr/>
            <p:nvPr/>
          </p:nvSpPr>
          <p:spPr>
            <a:xfrm>
              <a:off x="1358359" y="3278240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File C 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DFB4E2E2-2D4B-F4F0-6C51-B8910AD1E251}"/>
                </a:ext>
              </a:extLst>
            </p:cNvPr>
            <p:cNvSpPr/>
            <p:nvPr/>
          </p:nvSpPr>
          <p:spPr>
            <a:xfrm>
              <a:off x="2716445" y="3278240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C1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203AD1CE-EC24-AA58-3164-28E8A19F0B29}"/>
                </a:ext>
              </a:extLst>
            </p:cNvPr>
            <p:cNvSpPr/>
            <p:nvPr/>
          </p:nvSpPr>
          <p:spPr>
            <a:xfrm>
              <a:off x="4081365" y="3278240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C2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16DA0FC-5267-C45D-E3AF-E365EA26C7D0}"/>
                </a:ext>
              </a:extLst>
            </p:cNvPr>
            <p:cNvSpPr/>
            <p:nvPr/>
          </p:nvSpPr>
          <p:spPr>
            <a:xfrm>
              <a:off x="6797537" y="3278239"/>
              <a:ext cx="1158240" cy="31194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C3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CE8D914-3FA5-412A-4E98-D1AC88651123}"/>
                </a:ext>
              </a:extLst>
            </p:cNvPr>
            <p:cNvCxnSpPr>
              <a:stCxn id="14" idx="2"/>
              <a:endCxn id="19" idx="0"/>
            </p:cNvCxnSpPr>
            <p:nvPr/>
          </p:nvCxnSpPr>
          <p:spPr>
            <a:xfrm>
              <a:off x="1934818" y="1904365"/>
              <a:ext cx="0" cy="398208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8E3EF5C1-BDF8-8285-7622-AB9C89AE87B2}"/>
                </a:ext>
              </a:extLst>
            </p:cNvPr>
            <p:cNvSpPr/>
            <p:nvPr/>
          </p:nvSpPr>
          <p:spPr>
            <a:xfrm>
              <a:off x="2716445" y="2790482"/>
              <a:ext cx="1158240" cy="311945"/>
            </a:xfrm>
            <a:prstGeom prst="roundRect">
              <a:avLst/>
            </a:prstGeom>
            <a:solidFill>
              <a:schemeClr val="accent3">
                <a:alpha val="60000"/>
              </a:schemeClr>
            </a:solidFill>
            <a:ln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B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E18C9DB9-BB9B-4912-7E23-D26E0C517572}"/>
                </a:ext>
              </a:extLst>
            </p:cNvPr>
            <p:cNvSpPr/>
            <p:nvPr/>
          </p:nvSpPr>
          <p:spPr>
            <a:xfrm>
              <a:off x="4081365" y="2790482"/>
              <a:ext cx="1158240" cy="311945"/>
            </a:xfrm>
            <a:prstGeom prst="roundRect">
              <a:avLst/>
            </a:prstGeom>
            <a:solidFill>
              <a:schemeClr val="accent3">
                <a:alpha val="60000"/>
              </a:schemeClr>
            </a:solidFill>
            <a:ln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B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946FABFC-65D7-C95A-6225-BB170E3CB9C1}"/>
                </a:ext>
              </a:extLst>
            </p:cNvPr>
            <p:cNvSpPr/>
            <p:nvPr/>
          </p:nvSpPr>
          <p:spPr>
            <a:xfrm>
              <a:off x="4078200" y="2295761"/>
              <a:ext cx="1158240" cy="311945"/>
            </a:xfrm>
            <a:prstGeom prst="roundRect">
              <a:avLst/>
            </a:prstGeom>
            <a:solidFill>
              <a:schemeClr val="accent3">
                <a:alpha val="60000"/>
              </a:schemeClr>
            </a:solidFill>
            <a:ln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A1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7A7ACE64-CCD7-02BE-827F-9E2D10F2ECE1}"/>
                </a:ext>
              </a:extLst>
            </p:cNvPr>
            <p:cNvSpPr/>
            <p:nvPr/>
          </p:nvSpPr>
          <p:spPr>
            <a:xfrm>
              <a:off x="6797537" y="2304207"/>
              <a:ext cx="1158240" cy="311945"/>
            </a:xfrm>
            <a:prstGeom prst="roundRect">
              <a:avLst/>
            </a:prstGeom>
            <a:solidFill>
              <a:schemeClr val="accent3">
                <a:alpha val="60000"/>
              </a:schemeClr>
            </a:solidFill>
            <a:ln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A2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1FDA7D30-D974-2E28-8F74-6A4C0ABD521C}"/>
                </a:ext>
              </a:extLst>
            </p:cNvPr>
            <p:cNvSpPr/>
            <p:nvPr/>
          </p:nvSpPr>
          <p:spPr>
            <a:xfrm>
              <a:off x="5439144" y="3272619"/>
              <a:ext cx="1158240" cy="311945"/>
            </a:xfrm>
            <a:prstGeom prst="roundRect">
              <a:avLst/>
            </a:prstGeom>
            <a:solidFill>
              <a:schemeClr val="accent3">
                <a:alpha val="60000"/>
              </a:schemeClr>
            </a:solidFill>
            <a:ln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C2</a:t>
              </a: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3E8C6C5E-4964-6162-8081-9BC468D035A7}"/>
                </a:ext>
              </a:extLst>
            </p:cNvPr>
            <p:cNvCxnSpPr>
              <a:cxnSpLocks/>
              <a:stCxn id="19" idx="2"/>
              <a:endCxn id="24" idx="0"/>
            </p:cNvCxnSpPr>
            <p:nvPr/>
          </p:nvCxnSpPr>
          <p:spPr>
            <a:xfrm>
              <a:off x="1934818" y="2614518"/>
              <a:ext cx="2661" cy="175964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9CE44B5F-C2AD-B338-3832-A6E0B81ED598}"/>
                </a:ext>
              </a:extLst>
            </p:cNvPr>
            <p:cNvCxnSpPr>
              <a:cxnSpLocks/>
              <a:stCxn id="24" idx="2"/>
              <a:endCxn id="29" idx="0"/>
            </p:cNvCxnSpPr>
            <p:nvPr/>
          </p:nvCxnSpPr>
          <p:spPr>
            <a:xfrm>
              <a:off x="1937479" y="3102427"/>
              <a:ext cx="0" cy="175813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70E9A432-5F2C-26AC-92C2-3117C684A23C}"/>
                </a:ext>
              </a:extLst>
            </p:cNvPr>
            <p:cNvCxnSpPr>
              <a:cxnSpLocks/>
              <a:stCxn id="15" idx="2"/>
              <a:endCxn id="20" idx="0"/>
            </p:cNvCxnSpPr>
            <p:nvPr/>
          </p:nvCxnSpPr>
          <p:spPr>
            <a:xfrm>
              <a:off x="3296069" y="1905854"/>
              <a:ext cx="0" cy="396719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CB8478C-C50D-B7BB-4B33-4B5A61DCE9E3}"/>
                </a:ext>
              </a:extLst>
            </p:cNvPr>
            <p:cNvCxnSpPr>
              <a:cxnSpLocks/>
              <a:stCxn id="20" idx="2"/>
              <a:endCxn id="38" idx="0"/>
            </p:cNvCxnSpPr>
            <p:nvPr/>
          </p:nvCxnSpPr>
          <p:spPr>
            <a:xfrm flipH="1">
              <a:off x="3295565" y="2614518"/>
              <a:ext cx="504" cy="175964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F5FB327-CA15-0B61-C750-320212812F1B}"/>
                </a:ext>
              </a:extLst>
            </p:cNvPr>
            <p:cNvCxnSpPr>
              <a:cxnSpLocks/>
              <a:stCxn id="38" idx="2"/>
              <a:endCxn id="30" idx="0"/>
            </p:cNvCxnSpPr>
            <p:nvPr/>
          </p:nvCxnSpPr>
          <p:spPr>
            <a:xfrm>
              <a:off x="3295565" y="3102427"/>
              <a:ext cx="0" cy="175813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2517C23B-67C4-285F-F6E8-123590D63F91}"/>
                </a:ext>
              </a:extLst>
            </p:cNvPr>
            <p:cNvCxnSpPr>
              <a:cxnSpLocks/>
              <a:stCxn id="16" idx="2"/>
              <a:endCxn id="40" idx="0"/>
            </p:cNvCxnSpPr>
            <p:nvPr/>
          </p:nvCxnSpPr>
          <p:spPr>
            <a:xfrm>
              <a:off x="4657320" y="1898503"/>
              <a:ext cx="0" cy="397258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5E44071-88EB-EA3C-A8D3-85C615B5DBBF}"/>
                </a:ext>
              </a:extLst>
            </p:cNvPr>
            <p:cNvCxnSpPr>
              <a:cxnSpLocks/>
              <a:stCxn id="40" idx="2"/>
              <a:endCxn id="39" idx="0"/>
            </p:cNvCxnSpPr>
            <p:nvPr/>
          </p:nvCxnSpPr>
          <p:spPr>
            <a:xfrm>
              <a:off x="4657320" y="2607706"/>
              <a:ext cx="3165" cy="182776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921A2401-130B-9B94-1AE4-35BDFC68442B}"/>
                </a:ext>
              </a:extLst>
            </p:cNvPr>
            <p:cNvCxnSpPr>
              <a:cxnSpLocks/>
              <a:stCxn id="39" idx="2"/>
              <a:endCxn id="32" idx="0"/>
            </p:cNvCxnSpPr>
            <p:nvPr/>
          </p:nvCxnSpPr>
          <p:spPr>
            <a:xfrm>
              <a:off x="4660485" y="3102427"/>
              <a:ext cx="0" cy="175813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2C548673-1FC8-D11D-0E60-4A9045837329}"/>
                </a:ext>
              </a:extLst>
            </p:cNvPr>
            <p:cNvCxnSpPr>
              <a:cxnSpLocks/>
              <a:stCxn id="17" idx="2"/>
              <a:endCxn id="22" idx="0"/>
            </p:cNvCxnSpPr>
            <p:nvPr/>
          </p:nvCxnSpPr>
          <p:spPr>
            <a:xfrm>
              <a:off x="6018571" y="1898502"/>
              <a:ext cx="505" cy="393664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42BB4F90-0A4F-7B11-63DD-C0060DF45AA8}"/>
                </a:ext>
              </a:extLst>
            </p:cNvPr>
            <p:cNvCxnSpPr>
              <a:cxnSpLocks/>
              <a:stCxn id="22" idx="2"/>
              <a:endCxn id="25" idx="0"/>
            </p:cNvCxnSpPr>
            <p:nvPr/>
          </p:nvCxnSpPr>
          <p:spPr>
            <a:xfrm flipH="1">
              <a:off x="6018571" y="2604111"/>
              <a:ext cx="505" cy="186371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DFDF57EE-C01E-F075-43AF-CF007A6030BD}"/>
                </a:ext>
              </a:extLst>
            </p:cNvPr>
            <p:cNvCxnSpPr>
              <a:cxnSpLocks/>
              <a:stCxn id="25" idx="2"/>
              <a:endCxn id="42" idx="0"/>
            </p:cNvCxnSpPr>
            <p:nvPr/>
          </p:nvCxnSpPr>
          <p:spPr>
            <a:xfrm flipH="1">
              <a:off x="6018264" y="3102427"/>
              <a:ext cx="307" cy="170192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F01E824E-9837-BEEE-0E4E-0B6B7C973D4B}"/>
                </a:ext>
              </a:extLst>
            </p:cNvPr>
            <p:cNvCxnSpPr>
              <a:cxnSpLocks/>
              <a:stCxn id="18" idx="2"/>
              <a:endCxn id="41" idx="0"/>
            </p:cNvCxnSpPr>
            <p:nvPr/>
          </p:nvCxnSpPr>
          <p:spPr>
            <a:xfrm>
              <a:off x="7376657" y="1898501"/>
              <a:ext cx="0" cy="405706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61615BE2-A46A-6D21-A33A-2F1C19287A59}"/>
                </a:ext>
              </a:extLst>
            </p:cNvPr>
            <p:cNvCxnSpPr>
              <a:cxnSpLocks/>
              <a:stCxn id="41" idx="2"/>
              <a:endCxn id="27" idx="0"/>
            </p:cNvCxnSpPr>
            <p:nvPr/>
          </p:nvCxnSpPr>
          <p:spPr>
            <a:xfrm>
              <a:off x="7376657" y="2616152"/>
              <a:ext cx="0" cy="17433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8005C64A-985F-474A-E08A-11ACE81E623D}"/>
                </a:ext>
              </a:extLst>
            </p:cNvPr>
            <p:cNvCxnSpPr>
              <a:cxnSpLocks/>
              <a:stCxn id="34" idx="0"/>
              <a:endCxn id="27" idx="2"/>
            </p:cNvCxnSpPr>
            <p:nvPr/>
          </p:nvCxnSpPr>
          <p:spPr>
            <a:xfrm flipV="1">
              <a:off x="7376657" y="3102427"/>
              <a:ext cx="0" cy="175812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6843069"/>
      </p:ext>
    </p:extLst>
  </p:cSld>
  <p:clrMapOvr>
    <a:masterClrMapping/>
  </p:clrMapOvr>
  <p:transition spd="slow" advClick="0"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5" progId="TCLayout.ActiveDocument.1">
                  <p:embed/>
                </p:oleObj>
              </mc:Choice>
              <mc:Fallback>
                <p:oleObj name="think-cell Folie" r:id="rId4" imgW="352" imgH="35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0" y="1080000"/>
            <a:ext cx="5346947" cy="2139553"/>
          </a:xfrm>
        </p:spPr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for</a:t>
            </a:r>
            <a:br>
              <a:rPr lang="de-DE" dirty="0"/>
            </a:b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50825" y="4860448"/>
            <a:ext cx="720000" cy="288000"/>
          </a:xfr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457200" rtl="0" eaLnBrk="1" latinLnBrk="0" hangingPunct="1">
              <a:defRPr sz="800" b="0" i="0" kern="12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E40545-ADBD-456F-9A04-E327F773D9D4}" type="datetime1">
              <a:rPr lang="de-DE" smtClean="0"/>
              <a:t>09.10.202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971551" y="4860448"/>
            <a:ext cx="5580000" cy="288000"/>
          </a:xfr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457200" rtl="0" eaLnBrk="1" latinLnBrk="0" hangingPunct="1">
              <a:defRPr sz="800" b="0" i="0" kern="12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Git, PyCharm &amp; Azure DevOps  •  Öffentlich  •  © Copyright Woodmark Consulting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244408" y="4860448"/>
            <a:ext cx="720079" cy="288000"/>
          </a:xfr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800" b="0" i="0" kern="12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701BC5-B25A-9846-8C4A-A8E343C52282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075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6000">
        <p:fade/>
      </p:transition>
    </mc:Choice>
    <mc:Fallback xmlns="">
      <p:transition spd="slow" advTm="6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QyEesRMmeoAVryajFf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QyEesRMmeoAVryajFf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QyEesRMmeoAVryajFf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QyEesRMmeoAVryajFf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QyEesRMmeoAVryajFf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QyEesRMmeoAVryajFf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QyEesRMmeoAVryajF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vMs1oS820dqXTTqh2u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vMs1oS820dqXTTqh2u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vMs1oS820dqXTTqh2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vMs1oS820dqXTTqh2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BCvktqQoGPyts57I5E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BCvktqQoGPyts57I5E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BCvktqQoGPyts57I5EP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BCvktqQoGPyts57I5EP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vO7CwRvOy74LpGUct0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ovO7CwRvOy74LpGUct0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Xa.mqjR4qJK.1sLy62f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Xa.mqjR4qJK.1sLy62f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jBAJLqSTu5D1W9YRCrF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jBAJLqSTu5D1W9YRCrF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4/04/2019 10:48:40"/>
  <p:tag name="VCT_NATIVEBODY" val="16.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4/04/2019 10:48:40"/>
  <p:tag name="VCT_NATIVEBODY" val="16.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4/04/2019 10:48:40"/>
  <p:tag name="VCT_NATIVEBODY" val="16.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4/04/2019 10:48:40"/>
  <p:tag name="VCT_NATIVEBODY" val="16.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4/04/2019 10:48:40"/>
  <p:tag name="VCT_NATIVEBODY" val="16.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4/04/2019 10:48:40"/>
  <p:tag name="VCT_NATIVEBODY" val="16.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4/04/2019 10:48:40"/>
  <p:tag name="VCT_NATIVEBODY" val="16.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BCvktqQoGPyts57I5E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BCvktqQoGPyts57I5E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fxPLR8QXOEvNJUe7i0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fxPLR8QXOEvNJUe7i0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w5DDB9Q6yJ3Z_MZgmL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w5DDB9Q6yJ3Z_MZgmL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.hidSUQNGjB8y1FAEi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6YTQJGTEu2LsPvxcXm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6YTQJGTEu2LsPvxcXmS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6YTQJGTEu2LsPvxcXm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6YTQJGTEu2LsPvxcXm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.hidSUQNGjB8y1FAEiv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wGhs3HRwONaago4MF6P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wGhs3HRwONaago4MF6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wGhs3HRwONaago4MF6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wGhs3HRwONaago4MF6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u.pslRQQO7L8mQG8woY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u.pslRQQO7L8mQG8wo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EnWQwlQqe3M_h1SwpD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EnWQwlQqe3M_h1SwpD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sAqjxNR9eNB0AU30Q0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sAqjxNR9eNB0AU30Q0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I9LSCNSeawQdTX8Vw.4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I9LSCNSeawQdTX8Vw.4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o3tiY8TAuHIJjQ3UE3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o3tiY8TAuHIJjQ3UE3u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FWKzgASHu_SDR84u_e8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FWKzgASHu_SDR84u_e8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qpCpbSRaqWFl.WmQqB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qpCpbSRaqWFl.WmQqB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OHfIUaTgaYT0n0aZvdc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OHfIUaTgaYT0n0aZvd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K4Jp60QGi8WKFjPbPBh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K4Jp60QGi8WKFjPbPBh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dl3AIPTBCDD4RI9XVCQ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dl3AIPTBCDD4RI9XVCQ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xJYu1sS22AOfDXsugL9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xJYu1sS22AOfDXsugL9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_yi3__RvyNepKwb6pk3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_yi3__RvyNepKwb6pk3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xJYu1sS22AOfDXsugL9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xJYu1sS22AOfDXsugL9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lxzGHJR8qunHr6D7AGN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lxzGHJR8qunHr6D7AG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lxzGHJR8qunHr6D7AG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lxzGHJR8qunHr6D7AGN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yIU5HQBqwbeKuQcy1o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OQyEesRMmeoAVryajFfw"/>
</p:tagLst>
</file>

<file path=ppt/theme/theme1.xml><?xml version="1.0" encoding="utf-8"?>
<a:theme xmlns:a="http://schemas.openxmlformats.org/drawingml/2006/main" name="Woodmark21">
  <a:themeElements>
    <a:clrScheme name="Woodmark">
      <a:dk1>
        <a:srgbClr val="262626"/>
      </a:dk1>
      <a:lt1>
        <a:srgbClr val="FFFFFF"/>
      </a:lt1>
      <a:dk2>
        <a:srgbClr val="204132"/>
      </a:dk2>
      <a:lt2>
        <a:srgbClr val="009932"/>
      </a:lt2>
      <a:accent1>
        <a:srgbClr val="69B030"/>
      </a:accent1>
      <a:accent2>
        <a:srgbClr val="C5B44F"/>
      </a:accent2>
      <a:accent3>
        <a:srgbClr val="808080"/>
      </a:accent3>
      <a:accent4>
        <a:srgbClr val="009790"/>
      </a:accent4>
      <a:accent5>
        <a:srgbClr val="93140A"/>
      </a:accent5>
      <a:accent6>
        <a:srgbClr val="E46C0A"/>
      </a:accent6>
      <a:hlink>
        <a:srgbClr val="009790"/>
      </a:hlink>
      <a:folHlink>
        <a:srgbClr val="00D0C8"/>
      </a:folHlink>
    </a:clrScheme>
    <a:fontScheme name="Woodmark">
      <a:majorFont>
        <a:latin typeface="Roboto Slab Regular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oodmark21.potx" id="{791F29AB-3079-4692-A432-AB7CFE96EF28}" vid="{99547D18-5551-48DF-B7D3-A9D5CB597433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Woodmark">
    <a:dk1>
      <a:srgbClr val="262626"/>
    </a:dk1>
    <a:lt1>
      <a:srgbClr val="FFFFFF"/>
    </a:lt1>
    <a:dk2>
      <a:srgbClr val="204132"/>
    </a:dk2>
    <a:lt2>
      <a:srgbClr val="009932"/>
    </a:lt2>
    <a:accent1>
      <a:srgbClr val="69B030"/>
    </a:accent1>
    <a:accent2>
      <a:srgbClr val="C5B44F"/>
    </a:accent2>
    <a:accent3>
      <a:srgbClr val="808080"/>
    </a:accent3>
    <a:accent4>
      <a:srgbClr val="009790"/>
    </a:accent4>
    <a:accent5>
      <a:srgbClr val="93140A"/>
    </a:accent5>
    <a:accent6>
      <a:srgbClr val="E46C0A"/>
    </a:accent6>
    <a:hlink>
      <a:srgbClr val="009790"/>
    </a:hlink>
    <a:folHlink>
      <a:srgbClr val="00D0C8"/>
    </a:folHlink>
  </a:clrScheme>
</a:themeOverride>
</file>

<file path=ppt/theme/themeOverride2.xml><?xml version="1.0" encoding="utf-8"?>
<a:themeOverride xmlns:a="http://schemas.openxmlformats.org/drawingml/2006/main">
  <a:clrScheme name="Woodmark">
    <a:dk1>
      <a:srgbClr val="262626"/>
    </a:dk1>
    <a:lt1>
      <a:srgbClr val="FFFFFF"/>
    </a:lt1>
    <a:dk2>
      <a:srgbClr val="204132"/>
    </a:dk2>
    <a:lt2>
      <a:srgbClr val="009932"/>
    </a:lt2>
    <a:accent1>
      <a:srgbClr val="69B030"/>
    </a:accent1>
    <a:accent2>
      <a:srgbClr val="C5B44F"/>
    </a:accent2>
    <a:accent3>
      <a:srgbClr val="808080"/>
    </a:accent3>
    <a:accent4>
      <a:srgbClr val="009790"/>
    </a:accent4>
    <a:accent5>
      <a:srgbClr val="93140A"/>
    </a:accent5>
    <a:accent6>
      <a:srgbClr val="E46C0A"/>
    </a:accent6>
    <a:hlink>
      <a:srgbClr val="009790"/>
    </a:hlink>
    <a:folHlink>
      <a:srgbClr val="00D0C8"/>
    </a:folHlink>
  </a:clrScheme>
</a:themeOverride>
</file>

<file path=ppt/theme/themeOverride3.xml><?xml version="1.0" encoding="utf-8"?>
<a:themeOverride xmlns:a="http://schemas.openxmlformats.org/drawingml/2006/main">
  <a:clrScheme name="Woodmark">
    <a:dk1>
      <a:srgbClr val="262626"/>
    </a:dk1>
    <a:lt1>
      <a:srgbClr val="FFFFFF"/>
    </a:lt1>
    <a:dk2>
      <a:srgbClr val="204132"/>
    </a:dk2>
    <a:lt2>
      <a:srgbClr val="009932"/>
    </a:lt2>
    <a:accent1>
      <a:srgbClr val="69B030"/>
    </a:accent1>
    <a:accent2>
      <a:srgbClr val="C5B44F"/>
    </a:accent2>
    <a:accent3>
      <a:srgbClr val="808080"/>
    </a:accent3>
    <a:accent4>
      <a:srgbClr val="009790"/>
    </a:accent4>
    <a:accent5>
      <a:srgbClr val="93140A"/>
    </a:accent5>
    <a:accent6>
      <a:srgbClr val="E46C0A"/>
    </a:accent6>
    <a:hlink>
      <a:srgbClr val="009790"/>
    </a:hlink>
    <a:folHlink>
      <a:srgbClr val="00D0C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92e2cc5-5096-4b24-8682-3d685c514e5d" xsi:nil="true"/>
    <lcf76f155ced4ddcb4097134ff3c332f xmlns="bb936ae6-12fe-4ce2-8f41-8035369d2e4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001D9C3B1726C4FAA5D6F070845FDD2" ma:contentTypeVersion="11" ma:contentTypeDescription="Ein neues Dokument erstellen." ma:contentTypeScope="" ma:versionID="a944808dce0802180469f62897841253">
  <xsd:schema xmlns:xsd="http://www.w3.org/2001/XMLSchema" xmlns:xs="http://www.w3.org/2001/XMLSchema" xmlns:p="http://schemas.microsoft.com/office/2006/metadata/properties" xmlns:ns2="bb936ae6-12fe-4ce2-8f41-8035369d2e46" xmlns:ns3="592e2cc5-5096-4b24-8682-3d685c514e5d" targetNamespace="http://schemas.microsoft.com/office/2006/metadata/properties" ma:root="true" ma:fieldsID="8b26ce3c81acafc51ead8edc075c762a" ns2:_="" ns3:_="">
    <xsd:import namespace="bb936ae6-12fe-4ce2-8f41-8035369d2e46"/>
    <xsd:import namespace="592e2cc5-5096-4b24-8682-3d685c514e5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936ae6-12fe-4ce2-8f41-8035369d2e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84cbe8a3-38c6-4de4-a5d7-f2ee244633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2e2cc5-5096-4b24-8682-3d685c514e5d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090226e-6a2f-4a69-949b-205dc3785fc8}" ma:internalName="TaxCatchAll" ma:showField="CatchAllData" ma:web="592e2cc5-5096-4b24-8682-3d685c514e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39B114-06C1-40FB-8A6B-7D81100A90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E588F5A-E43F-47EC-86E6-59018A8A3D60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592e2cc5-5096-4b24-8682-3d685c514e5d"/>
    <ds:schemaRef ds:uri="http://purl.org/dc/dcmitype/"/>
    <ds:schemaRef ds:uri="bb936ae6-12fe-4ce2-8f41-8035369d2e46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27FBECF-0813-42DB-B4FE-8A2B3E5C1F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936ae6-12fe-4ce2-8f41-8035369d2e46"/>
    <ds:schemaRef ds:uri="592e2cc5-5096-4b24-8682-3d685c514e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709</Words>
  <Application>Microsoft Office PowerPoint</Application>
  <PresentationFormat>On-screen Show (16:9)</PresentationFormat>
  <Paragraphs>1333</Paragraphs>
  <Slides>90</Slides>
  <Notes>48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0</vt:i4>
      </vt:variant>
    </vt:vector>
  </HeadingPairs>
  <TitlesOfParts>
    <vt:vector size="105" baseType="lpstr">
      <vt:lpstr>Roboto Slab Regular (Headings)</vt:lpstr>
      <vt:lpstr>Source Sans Pro regular</vt:lpstr>
      <vt:lpstr>Arial</vt:lpstr>
      <vt:lpstr>Calibri</vt:lpstr>
      <vt:lpstr>Consolas</vt:lpstr>
      <vt:lpstr>Courier New</vt:lpstr>
      <vt:lpstr>Roboto Slab</vt:lpstr>
      <vt:lpstr>Roboto Slab Regular</vt:lpstr>
      <vt:lpstr>Source Sans Pro</vt:lpstr>
      <vt:lpstr>Source Sans Pro Light</vt:lpstr>
      <vt:lpstr>Source Sans Pro Semibold</vt:lpstr>
      <vt:lpstr>Symbol</vt:lpstr>
      <vt:lpstr>Times</vt:lpstr>
      <vt:lpstr>Woodmark21</vt:lpstr>
      <vt:lpstr>think-cell Folie</vt:lpstr>
      <vt:lpstr>Git, PyCharm &amp; Azure DevOps</vt:lpstr>
      <vt:lpstr>Wolfgang Moser Solution Architect</vt:lpstr>
      <vt:lpstr>Agenda</vt:lpstr>
      <vt:lpstr>Introduction to Git</vt:lpstr>
      <vt:lpstr>The Challenge without Version Control</vt:lpstr>
      <vt:lpstr>Version Control before Git: The CMS Era</vt:lpstr>
      <vt:lpstr>Addressing Version Control Challenges with Git</vt:lpstr>
      <vt:lpstr>How Traditional VCS Work</vt:lpstr>
      <vt:lpstr>How Git Works</vt:lpstr>
      <vt:lpstr>The .git Folder</vt:lpstr>
      <vt:lpstr>Git Basics</vt:lpstr>
      <vt:lpstr>The Three File States</vt:lpstr>
      <vt:lpstr>The Git Repository</vt:lpstr>
      <vt:lpstr>Key Commands for File Status Modification</vt:lpstr>
      <vt:lpstr>Commits and History</vt:lpstr>
      <vt:lpstr>Ignore, Reset, Unmodify</vt:lpstr>
      <vt:lpstr>Lab #1</vt:lpstr>
      <vt:lpstr>Working with Remotes</vt:lpstr>
      <vt:lpstr>Fetch, Pull &amp; Push</vt:lpstr>
      <vt:lpstr>Tagging</vt:lpstr>
      <vt:lpstr>Lab #2</vt:lpstr>
      <vt:lpstr>Branching</vt:lpstr>
      <vt:lpstr>Creating a Branch</vt:lpstr>
      <vt:lpstr>Creating a Branch</vt:lpstr>
      <vt:lpstr>Creating a Branch</vt:lpstr>
      <vt:lpstr>Switching Branches</vt:lpstr>
      <vt:lpstr>Switching Branches</vt:lpstr>
      <vt:lpstr>Switching Branches</vt:lpstr>
      <vt:lpstr>Switching Branches</vt:lpstr>
      <vt:lpstr>Merging Branches</vt:lpstr>
      <vt:lpstr>Merging Branches</vt:lpstr>
      <vt:lpstr>Merging Branches</vt:lpstr>
      <vt:lpstr>Merging Branches</vt:lpstr>
      <vt:lpstr>Merging Branches</vt:lpstr>
      <vt:lpstr>Merging Branches</vt:lpstr>
      <vt:lpstr>Merging Branches</vt:lpstr>
      <vt:lpstr>Merging Branches</vt:lpstr>
      <vt:lpstr>Merge Conflicts</vt:lpstr>
      <vt:lpstr>Resolve Merge Conflicts</vt:lpstr>
      <vt:lpstr>Rebasing Branches</vt:lpstr>
      <vt:lpstr>Revisiting Merges</vt:lpstr>
      <vt:lpstr>Rebasing Branches</vt:lpstr>
      <vt:lpstr>Rebasing Branches</vt:lpstr>
      <vt:lpstr>Lab #3</vt:lpstr>
      <vt:lpstr>Best Practices</vt:lpstr>
      <vt:lpstr>Commit Best Practices</vt:lpstr>
      <vt:lpstr>Git Etiquette</vt:lpstr>
      <vt:lpstr>Pre-Commit</vt:lpstr>
      <vt:lpstr>Branching Strategies: GitHub Flow</vt:lpstr>
      <vt:lpstr>Branching Strategies: Git Flow</vt:lpstr>
      <vt:lpstr>Git Integration in Pycharm</vt:lpstr>
      <vt:lpstr>Clone a Remote Repository</vt:lpstr>
      <vt:lpstr>Add Files to Git and Track Changes﻿</vt:lpstr>
      <vt:lpstr>Track Changes to a File in the Editor﻿</vt:lpstr>
      <vt:lpstr>Investigate Changes in Git Repository﻿</vt:lpstr>
      <vt:lpstr>Sync With the Remote Git Repository</vt:lpstr>
      <vt:lpstr>Commit Changes</vt:lpstr>
      <vt:lpstr>Push Changes</vt:lpstr>
      <vt:lpstr>Create Branch</vt:lpstr>
      <vt:lpstr>Rebase Branches</vt:lpstr>
      <vt:lpstr>Resolve Conflicts</vt:lpstr>
      <vt:lpstr>Lab #4</vt:lpstr>
      <vt:lpstr>Azure DevOps</vt:lpstr>
      <vt:lpstr>What is Azure DevOps?</vt:lpstr>
      <vt:lpstr>User Interface Overview</vt:lpstr>
      <vt:lpstr>Repositories &amp; Collaboration</vt:lpstr>
      <vt:lpstr>Pull Request Review</vt:lpstr>
      <vt:lpstr>Code Review Best Practices</vt:lpstr>
      <vt:lpstr>Code Review Best Practices</vt:lpstr>
      <vt:lpstr>Gobal Repository Settings</vt:lpstr>
      <vt:lpstr>Gobal Repository Settings</vt:lpstr>
      <vt:lpstr>Work Item Tracking</vt:lpstr>
      <vt:lpstr>Agile Project Management: Kanban</vt:lpstr>
      <vt:lpstr>Agile Project Management: Scrum</vt:lpstr>
      <vt:lpstr>Work Item Tracking</vt:lpstr>
      <vt:lpstr>Work Item Tracking</vt:lpstr>
      <vt:lpstr>Work Item Tracking</vt:lpstr>
      <vt:lpstr>Lab #5</vt:lpstr>
      <vt:lpstr>Lab #5 (alternative)</vt:lpstr>
      <vt:lpstr>CI/CD Pipelines</vt:lpstr>
      <vt:lpstr>CI/CD Pipelines</vt:lpstr>
      <vt:lpstr>CI/CD Pipelines</vt:lpstr>
      <vt:lpstr>CI/CD Pipelines</vt:lpstr>
      <vt:lpstr>CI/CD Pipelines</vt:lpstr>
      <vt:lpstr>CI/CD Pipelines</vt:lpstr>
      <vt:lpstr>CI/CD Pipelines</vt:lpstr>
      <vt:lpstr>CI/CD Pipelines</vt:lpstr>
      <vt:lpstr>CI/CD Pipelines</vt:lpstr>
      <vt:lpstr>Comparison: Azure DevOps &amp; GitHub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olfgang Moser</dc:creator>
  <cp:lastModifiedBy>Wolfgang Moser</cp:lastModifiedBy>
  <cp:revision>29</cp:revision>
  <cp:lastPrinted>2018-07-25T08:13:52Z</cp:lastPrinted>
  <dcterms:created xsi:type="dcterms:W3CDTF">2024-09-30T07:13:00Z</dcterms:created>
  <dcterms:modified xsi:type="dcterms:W3CDTF">2024-10-15T12:0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01D9C3B1726C4FAA5D6F070845FDD2</vt:lpwstr>
  </property>
  <property fmtid="{D5CDD505-2E9C-101B-9397-08002B2CF9AE}" pid="3" name="Firma/Kunde">
    <vt:lpwstr>1;#Woodmark|250e2af9-f8bc-48dd-80b4-1a99bda5728d</vt:lpwstr>
  </property>
  <property fmtid="{D5CDD505-2E9C-101B-9397-08002B2CF9AE}" pid="4" name="SharedWithUsers">
    <vt:lpwstr>14;#Rainer Unsöld;#59;#Vincent C. Fourmi</vt:lpwstr>
  </property>
  <property fmtid="{D5CDD505-2E9C-101B-9397-08002B2CF9AE}" pid="5" name="j9e3c8b26a3843b8ae736c6d1c0e9ece">
    <vt:lpwstr/>
  </property>
  <property fmtid="{D5CDD505-2E9C-101B-9397-08002B2CF9AE}" pid="6" name="Lieferkunde">
    <vt:lpwstr/>
  </property>
  <property fmtid="{D5CDD505-2E9C-101B-9397-08002B2CF9AE}" pid="7" name="AuthorIds_UIVersion_1">
    <vt:lpwstr>221</vt:lpwstr>
  </property>
  <property fmtid="{D5CDD505-2E9C-101B-9397-08002B2CF9AE}" pid="8" name="Order">
    <vt:lpwstr>65400.0000000000</vt:lpwstr>
  </property>
  <property fmtid="{D5CDD505-2E9C-101B-9397-08002B2CF9AE}" pid="9" name="xd_Signature">
    <vt:lpwstr/>
  </property>
  <property fmtid="{D5CDD505-2E9C-101B-9397-08002B2CF9AE}" pid="10" name="xd_ProgID">
    <vt:lpwstr/>
  </property>
  <property fmtid="{D5CDD505-2E9C-101B-9397-08002B2CF9AE}" pid="11" name="ComplianceAssetId">
    <vt:lpwstr/>
  </property>
  <property fmtid="{D5CDD505-2E9C-101B-9397-08002B2CF9AE}" pid="12" name="TemplateUrl">
    <vt:lpwstr/>
  </property>
  <property fmtid="{D5CDD505-2E9C-101B-9397-08002B2CF9AE}" pid="13" name="_ExtendedDescription">
    <vt:lpwstr/>
  </property>
  <property fmtid="{D5CDD505-2E9C-101B-9397-08002B2CF9AE}" pid="14" name="Klassifizierung">
    <vt:lpwstr>Intern</vt:lpwstr>
  </property>
  <property fmtid="{D5CDD505-2E9C-101B-9397-08002B2CF9AE}" pid="15" name="TriggerFlowInfo">
    <vt:lpwstr/>
  </property>
  <property fmtid="{D5CDD505-2E9C-101B-9397-08002B2CF9AE}" pid="16" name="MediaServiceImageTags">
    <vt:lpwstr/>
  </property>
</Properties>
</file>